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5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7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8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9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2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21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8" r:id="rId2"/>
    <p:sldMasterId id="2147483673" r:id="rId3"/>
    <p:sldMasterId id="2147483683" r:id="rId4"/>
    <p:sldMasterId id="2147483692" r:id="rId5"/>
    <p:sldMasterId id="2147483702" r:id="rId6"/>
    <p:sldMasterId id="2147483708" r:id="rId7"/>
    <p:sldMasterId id="2147483714" r:id="rId8"/>
    <p:sldMasterId id="2147483719" r:id="rId9"/>
    <p:sldMasterId id="2147483724" r:id="rId10"/>
    <p:sldMasterId id="2147483729" r:id="rId11"/>
    <p:sldMasterId id="2147483738" r:id="rId12"/>
    <p:sldMasterId id="2147483747" r:id="rId13"/>
    <p:sldMasterId id="2147483756" r:id="rId14"/>
    <p:sldMasterId id="2147483766" r:id="rId15"/>
    <p:sldMasterId id="2147483780" r:id="rId16"/>
    <p:sldMasterId id="2147483794" r:id="rId17"/>
    <p:sldMasterId id="2147483808" r:id="rId18"/>
    <p:sldMasterId id="2147483822" r:id="rId19"/>
    <p:sldMasterId id="2147484033" r:id="rId20"/>
    <p:sldMasterId id="2147484040" r:id="rId21"/>
  </p:sldMasterIdLst>
  <p:notesMasterIdLst>
    <p:notesMasterId r:id="rId38"/>
  </p:notesMasterIdLst>
  <p:handoutMasterIdLst>
    <p:handoutMasterId r:id="rId39"/>
  </p:handoutMasterIdLst>
  <p:sldIdLst>
    <p:sldId id="5051" r:id="rId22"/>
    <p:sldId id="5056" r:id="rId23"/>
    <p:sldId id="5064" r:id="rId24"/>
    <p:sldId id="5061" r:id="rId25"/>
    <p:sldId id="5063" r:id="rId26"/>
    <p:sldId id="5075" r:id="rId27"/>
    <p:sldId id="5062" r:id="rId28"/>
    <p:sldId id="5060" r:id="rId29"/>
    <p:sldId id="5074" r:id="rId30"/>
    <p:sldId id="5066" r:id="rId31"/>
    <p:sldId id="5067" r:id="rId32"/>
    <p:sldId id="5069" r:id="rId33"/>
    <p:sldId id="5070" r:id="rId34"/>
    <p:sldId id="5071" r:id="rId35"/>
    <p:sldId id="5072" r:id="rId36"/>
    <p:sldId id="5054" r:id="rId37"/>
  </p:sldIdLst>
  <p:sldSz cx="12344400" cy="6858000"/>
  <p:notesSz cx="6797675" cy="9928225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1pPr>
    <a:lvl2pPr marL="466725" indent="-9525"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2pPr>
    <a:lvl3pPr marL="933450" indent="-19050"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3pPr>
    <a:lvl4pPr marL="1400175" indent="-28575"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4pPr>
    <a:lvl5pPr marL="1865313" indent="-36513" algn="l" rtl="0" eaLnBrk="0" fontAlgn="base" hangingPunct="0">
      <a:spcBef>
        <a:spcPct val="0"/>
      </a:spcBef>
      <a:spcAft>
        <a:spcPct val="0"/>
      </a:spcAft>
      <a:buFont typeface="Arial" charset="0"/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SimSun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6">
          <p15:clr>
            <a:srgbClr val="A4A3A4"/>
          </p15:clr>
        </p15:guide>
        <p15:guide id="2" orient="horz" pos="204">
          <p15:clr>
            <a:srgbClr val="A4A3A4"/>
          </p15:clr>
        </p15:guide>
        <p15:guide id="3" orient="horz" pos="798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390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vin Nantung" initials="MC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99CCFF"/>
    <a:srgbClr val="0000FF"/>
    <a:srgbClr val="20A3FC"/>
    <a:srgbClr val="1E99FE"/>
    <a:srgbClr val="FFFFCC"/>
    <a:srgbClr val="008000"/>
    <a:srgbClr val="942825"/>
    <a:srgbClr val="2B03BD"/>
    <a:srgbClr val="C6C6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26" autoAdjust="0"/>
    <p:restoredTop sz="95455" autoAdjust="0"/>
  </p:normalViewPr>
  <p:slideViewPr>
    <p:cSldViewPr snapToGrid="0">
      <p:cViewPr>
        <p:scale>
          <a:sx n="90" d="100"/>
          <a:sy n="90" d="100"/>
        </p:scale>
        <p:origin x="-390" y="-24"/>
      </p:cViewPr>
      <p:guideLst>
        <p:guide orient="horz" pos="576"/>
        <p:guide orient="horz" pos="204"/>
        <p:guide orient="horz" pos="798"/>
        <p:guide orient="horz" pos="4319"/>
        <p:guide pos="39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handoutMaster" Target="handoutMasters/handoutMaster1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01148652\Downloads\Summary%20WBL%20&amp;%20%20HBL%20(2025)%20(3)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idprwvpifs02\technical%20data$\Other\Agung\FL%20Monitoring\2025\Mar\TDS\High%20TDS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RB Total TDS</c:v>
          </c:tx>
          <c:spPr>
            <a:ln w="19050"/>
          </c:spPr>
          <c:marker>
            <c:symbol val="circle"/>
            <c:size val="4"/>
          </c:marker>
          <c:dLbls>
            <c:dLbl>
              <c:idx val="12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6754048"/>
        <c:axId val="224217920"/>
      </c:lineChart>
      <c:lineChart>
        <c:grouping val="standard"/>
        <c:varyColors val="0"/>
        <c:ser>
          <c:idx val="1"/>
          <c:order val="1"/>
          <c:tx>
            <c:v>WL Cooking Consumption</c:v>
          </c:tx>
          <c:spPr>
            <a:ln w="19050"/>
          </c:spPr>
          <c:marker>
            <c:symbol val="square"/>
            <c:size val="4"/>
          </c:marker>
          <c:dLbls>
            <c:dLbl>
              <c:idx val="12"/>
              <c:numFmt formatCode="#,##0" sourceLinked="0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numFmt formatCode="#,##0" sourceLinked="0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numFmt formatCode="#,##0" sourceLinked="0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28:$BB$28</c:f>
              <c:numCache>
                <c:formatCode>0</c:formatCode>
                <c:ptCount val="15"/>
                <c:pt idx="0">
                  <c:v>305.663290980645</c:v>
                </c:pt>
                <c:pt idx="1">
                  <c:v>300.48420832857425</c:v>
                </c:pt>
                <c:pt idx="2">
                  <c:v>300.7127174627974</c:v>
                </c:pt>
                <c:pt idx="3">
                  <c:v>312.0659768628197</c:v>
                </c:pt>
                <c:pt idx="4">
                  <c:v>309.14623490767178</c:v>
                </c:pt>
                <c:pt idx="5">
                  <c:v>307.88181124579711</c:v>
                </c:pt>
                <c:pt idx="6">
                  <c:v>304.31782849881887</c:v>
                </c:pt>
                <c:pt idx="7">
                  <c:v>311.67910615233183</c:v>
                </c:pt>
                <c:pt idx="8">
                  <c:v>310.22655925883839</c:v>
                </c:pt>
                <c:pt idx="9">
                  <c:v>305.89940313232688</c:v>
                </c:pt>
                <c:pt idx="10">
                  <c:v>305.44311901131709</c:v>
                </c:pt>
                <c:pt idx="11">
                  <c:v>301.04533175459949</c:v>
                </c:pt>
                <c:pt idx="12">
                  <c:v>298.45220569695164</c:v>
                </c:pt>
                <c:pt idx="13">
                  <c:v>295.00854281610026</c:v>
                </c:pt>
                <c:pt idx="14">
                  <c:v>3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283968"/>
        <c:axId val="224220224"/>
      </c:lineChart>
      <c:catAx>
        <c:axId val="22675404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224217920"/>
        <c:crosses val="autoZero"/>
        <c:auto val="1"/>
        <c:lblAlgn val="ctr"/>
        <c:lblOffset val="100"/>
        <c:noMultiLvlLbl val="1"/>
      </c:catAx>
      <c:valAx>
        <c:axId val="224217920"/>
        <c:scaling>
          <c:orientation val="minMax"/>
          <c:max val="1.7000000000000002"/>
          <c:min val="1.4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DS/Adt</a:t>
                </a:r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226754048"/>
        <c:crosses val="autoZero"/>
        <c:crossBetween val="between"/>
      </c:valAx>
      <c:valAx>
        <c:axId val="224220224"/>
        <c:scaling>
          <c:orientation val="minMax"/>
          <c:min val="26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Kg/Adt</a:t>
                </a:r>
              </a:p>
            </c:rich>
          </c:tx>
          <c:layout/>
          <c:overlay val="0"/>
        </c:title>
        <c:numFmt formatCode="0" sourceLinked="1"/>
        <c:majorTickMark val="out"/>
        <c:minorTickMark val="none"/>
        <c:tickLblPos val="nextTo"/>
        <c:crossAx val="227283968"/>
        <c:crosses val="max"/>
        <c:crossBetween val="between"/>
      </c:valAx>
      <c:catAx>
        <c:axId val="227283968"/>
        <c:scaling>
          <c:orientation val="minMax"/>
        </c:scaling>
        <c:delete val="1"/>
        <c:axPos val="b"/>
        <c:majorTickMark val="out"/>
        <c:minorTickMark val="none"/>
        <c:tickLblPos val="nextTo"/>
        <c:crossAx val="224220224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tx1"/>
      </a:solidFill>
    </a:ln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Kappa Blowline</c:v>
          </c:tx>
          <c:spPr>
            <a:ln w="19050"/>
          </c:spPr>
          <c:marker>
            <c:symbol val="circle"/>
            <c:size val="4"/>
          </c:marker>
          <c:dLbls>
            <c:dLbl>
              <c:idx val="0"/>
              <c:layout>
                <c:manualLayout>
                  <c:x val="-3.3553618297712785E-2"/>
                  <c:y val="-5.89860017497812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1172665916760427E-2"/>
                  <c:y val="-5.34304461942257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5934570678665165E-2"/>
                  <c:y val="-8.12082239720035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3.5934570678665165E-2"/>
                  <c:y val="4.65695538057742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38:$BB$38</c:f>
              <c:numCache>
                <c:formatCode>0.0</c:formatCode>
                <c:ptCount val="15"/>
                <c:pt idx="0">
                  <c:v>19.198443433194534</c:v>
                </c:pt>
                <c:pt idx="1">
                  <c:v>19.203248332274008</c:v>
                </c:pt>
                <c:pt idx="2">
                  <c:v>18.454926778854691</c:v>
                </c:pt>
                <c:pt idx="3">
                  <c:v>17.784004083373812</c:v>
                </c:pt>
                <c:pt idx="4">
                  <c:v>18.034489779902387</c:v>
                </c:pt>
                <c:pt idx="5">
                  <c:v>18.047275341933588</c:v>
                </c:pt>
                <c:pt idx="6">
                  <c:v>17.840161326481372</c:v>
                </c:pt>
                <c:pt idx="7">
                  <c:v>17.834546402042452</c:v>
                </c:pt>
                <c:pt idx="8">
                  <c:v>18.3418325443212</c:v>
                </c:pt>
                <c:pt idx="9">
                  <c:v>18.521989444562607</c:v>
                </c:pt>
                <c:pt idx="10">
                  <c:v>19.078828134106065</c:v>
                </c:pt>
                <c:pt idx="11">
                  <c:v>18.898491160453208</c:v>
                </c:pt>
                <c:pt idx="12">
                  <c:v>19.05267863638014</c:v>
                </c:pt>
                <c:pt idx="13">
                  <c:v>18.962616848396781</c:v>
                </c:pt>
                <c:pt idx="14">
                  <c:v>19.39999999999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282944"/>
        <c:axId val="224222528"/>
      </c:lineChart>
      <c:lineChart>
        <c:grouping val="standard"/>
        <c:varyColors val="0"/>
        <c:ser>
          <c:idx val="1"/>
          <c:order val="1"/>
          <c:tx>
            <c:v>WL Cooking Consumption</c:v>
          </c:tx>
          <c:spPr>
            <a:ln w="19050"/>
          </c:spPr>
          <c:marker>
            <c:symbol val="square"/>
            <c:size val="4"/>
          </c:marker>
          <c:dLbls>
            <c:dLbl>
              <c:idx val="0"/>
              <c:layout>
                <c:manualLayout>
                  <c:x val="-3.3529808773903262E-2"/>
                  <c:y val="4.78748906386701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1149043869516311E-2"/>
                  <c:y val="3.67637795275590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5910761154855732E-2"/>
                  <c:y val="5.34304461942257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3.3529808773903262E-2"/>
                  <c:y val="3.12082239720034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3.8291713535808021E-2"/>
                  <c:y val="-5.76806649168853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28:$BB$28</c:f>
              <c:numCache>
                <c:formatCode>0</c:formatCode>
                <c:ptCount val="15"/>
                <c:pt idx="0">
                  <c:v>305.663290980645</c:v>
                </c:pt>
                <c:pt idx="1">
                  <c:v>300.48420832857425</c:v>
                </c:pt>
                <c:pt idx="2">
                  <c:v>300.7127174627974</c:v>
                </c:pt>
                <c:pt idx="3">
                  <c:v>312.0659768628197</c:v>
                </c:pt>
                <c:pt idx="4">
                  <c:v>309.14623490767178</c:v>
                </c:pt>
                <c:pt idx="5">
                  <c:v>307.88181124579711</c:v>
                </c:pt>
                <c:pt idx="6">
                  <c:v>304.31782849881887</c:v>
                </c:pt>
                <c:pt idx="7">
                  <c:v>311.67910615233183</c:v>
                </c:pt>
                <c:pt idx="8">
                  <c:v>310.22655925883839</c:v>
                </c:pt>
                <c:pt idx="9">
                  <c:v>305.89940313232688</c:v>
                </c:pt>
                <c:pt idx="10">
                  <c:v>305.44311901131709</c:v>
                </c:pt>
                <c:pt idx="11">
                  <c:v>301.04533175459949</c:v>
                </c:pt>
                <c:pt idx="12">
                  <c:v>298.45220569695164</c:v>
                </c:pt>
                <c:pt idx="13">
                  <c:v>295.00854281610026</c:v>
                </c:pt>
                <c:pt idx="14">
                  <c:v>3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284992"/>
        <c:axId val="238414656"/>
      </c:lineChart>
      <c:catAx>
        <c:axId val="22728294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224222528"/>
        <c:crosses val="autoZero"/>
        <c:auto val="1"/>
        <c:lblAlgn val="ctr"/>
        <c:lblOffset val="100"/>
        <c:noMultiLvlLbl val="1"/>
      </c:catAx>
      <c:valAx>
        <c:axId val="224222528"/>
        <c:scaling>
          <c:orientation val="minMax"/>
          <c:max val="20"/>
          <c:min val="17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Kappa Number</a:t>
                </a:r>
                <a:endParaRPr lang="en-US" dirty="0"/>
              </a:p>
            </c:rich>
          </c:tx>
          <c:layout/>
          <c:overlay val="0"/>
        </c:title>
        <c:numFmt formatCode="0.0" sourceLinked="1"/>
        <c:majorTickMark val="out"/>
        <c:minorTickMark val="none"/>
        <c:tickLblPos val="nextTo"/>
        <c:crossAx val="227282944"/>
        <c:crosses val="autoZero"/>
        <c:crossBetween val="between"/>
      </c:valAx>
      <c:valAx>
        <c:axId val="23841465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Kg/Adt</a:t>
                </a:r>
              </a:p>
            </c:rich>
          </c:tx>
          <c:layout/>
          <c:overlay val="0"/>
        </c:title>
        <c:numFmt formatCode="0" sourceLinked="1"/>
        <c:majorTickMark val="out"/>
        <c:minorTickMark val="none"/>
        <c:tickLblPos val="nextTo"/>
        <c:crossAx val="227284992"/>
        <c:crosses val="max"/>
        <c:crossBetween val="between"/>
      </c:valAx>
      <c:catAx>
        <c:axId val="227284992"/>
        <c:scaling>
          <c:orientation val="minMax"/>
        </c:scaling>
        <c:delete val="1"/>
        <c:axPos val="b"/>
        <c:majorTickMark val="out"/>
        <c:minorTickMark val="none"/>
        <c:tickLblPos val="nextTo"/>
        <c:crossAx val="23841465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tx1"/>
      </a:solidFill>
    </a:ln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RB Total TDS</c:v>
          </c:tx>
          <c:spPr>
            <a:ln w="19050"/>
          </c:spPr>
          <c:marker>
            <c:symbol val="circle"/>
            <c:size val="5"/>
            <c:spPr>
              <a:solidFill>
                <a:schemeClr val="tx2"/>
              </a:solidFill>
            </c:spPr>
          </c:marker>
          <c:dLbls>
            <c:dLbl>
              <c:idx val="10"/>
              <c:layout>
                <c:manualLayout>
                  <c:x val="-3.0872880754770436E-2"/>
                  <c:y val="-3.73748906386702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395072"/>
        <c:axId val="238418688"/>
      </c:lineChart>
      <c:lineChart>
        <c:grouping val="standard"/>
        <c:varyColors val="0"/>
        <c:ser>
          <c:idx val="1"/>
          <c:order val="1"/>
          <c:tx>
            <c:v>WBL Total Solid</c:v>
          </c:tx>
          <c:spPr>
            <a:ln w="19050">
              <a:solidFill>
                <a:srgbClr val="C00000"/>
              </a:solidFill>
            </a:ln>
          </c:spPr>
          <c:marker>
            <c:symbol val="square"/>
            <c:size val="4"/>
            <c:spPr>
              <a:solidFill>
                <a:srgbClr val="C00000"/>
              </a:solidFill>
            </c:spPr>
          </c:marker>
          <c:dLbls>
            <c:dLbl>
              <c:idx val="10"/>
              <c:layout>
                <c:manualLayout>
                  <c:x val="-2.9239909200539121E-2"/>
                  <c:y val="4.01526684164479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B$1:$BB$1</c:f>
              <c:strCache>
                <c:ptCount val="27"/>
                <c:pt idx="0">
                  <c:v>Jan-23</c:v>
                </c:pt>
                <c:pt idx="1">
                  <c:v>Feb-23</c:v>
                </c:pt>
                <c:pt idx="2">
                  <c:v>Mar-23</c:v>
                </c:pt>
                <c:pt idx="3">
                  <c:v>Apr-23</c:v>
                </c:pt>
                <c:pt idx="4">
                  <c:v>May-23</c:v>
                </c:pt>
                <c:pt idx="5">
                  <c:v>Jun-23</c:v>
                </c:pt>
                <c:pt idx="6">
                  <c:v>Jul-23</c:v>
                </c:pt>
                <c:pt idx="7">
                  <c:v>Aug-23</c:v>
                </c:pt>
                <c:pt idx="8">
                  <c:v>Sep-23</c:v>
                </c:pt>
                <c:pt idx="9">
                  <c:v>Oct-23</c:v>
                </c:pt>
                <c:pt idx="10">
                  <c:v>Nov-23</c:v>
                </c:pt>
                <c:pt idx="11">
                  <c:v>Dec-23</c:v>
                </c:pt>
                <c:pt idx="12">
                  <c:v>Jan-24</c:v>
                </c:pt>
                <c:pt idx="13">
                  <c:v>Feb-24</c:v>
                </c:pt>
                <c:pt idx="14">
                  <c:v>Mar-24</c:v>
                </c:pt>
                <c:pt idx="15">
                  <c:v>Apr-24</c:v>
                </c:pt>
                <c:pt idx="16">
                  <c:v>May-24</c:v>
                </c:pt>
                <c:pt idx="17">
                  <c:v>Jun-24</c:v>
                </c:pt>
                <c:pt idx="18">
                  <c:v>Jul-24</c:v>
                </c:pt>
                <c:pt idx="19">
                  <c:v>Aug-24</c:v>
                </c:pt>
                <c:pt idx="20">
                  <c:v>Sep-24</c:v>
                </c:pt>
                <c:pt idx="21">
                  <c:v>Oct-24</c:v>
                </c:pt>
                <c:pt idx="22">
                  <c:v>Nov-24</c:v>
                </c:pt>
                <c:pt idx="23">
                  <c:v>Dec-24</c:v>
                </c:pt>
                <c:pt idx="24">
                  <c:v>Jan-25</c:v>
                </c:pt>
                <c:pt idx="25">
                  <c:v>Feb-25</c:v>
                </c:pt>
                <c:pt idx="26">
                  <c:v>Mar-25</c:v>
                </c:pt>
              </c:strCache>
            </c:strRef>
          </c:cat>
          <c:val>
            <c:numRef>
              <c:f>Sum!$AN$148:$BB$148</c:f>
              <c:numCache>
                <c:formatCode>0.00</c:formatCode>
                <c:ptCount val="15"/>
                <c:pt idx="0">
                  <c:v>13.93381320832045</c:v>
                </c:pt>
                <c:pt idx="1">
                  <c:v>14.20893135907742</c:v>
                </c:pt>
                <c:pt idx="2">
                  <c:v>14.053059464492826</c:v>
                </c:pt>
                <c:pt idx="3">
                  <c:v>14.220436388039676</c:v>
                </c:pt>
                <c:pt idx="4">
                  <c:v>14.081499461744764</c:v>
                </c:pt>
                <c:pt idx="5">
                  <c:v>14.276704381531619</c:v>
                </c:pt>
                <c:pt idx="6">
                  <c:v>14.400562366202074</c:v>
                </c:pt>
                <c:pt idx="7">
                  <c:v>14.19746689925193</c:v>
                </c:pt>
                <c:pt idx="8">
                  <c:v>14.081536714882985</c:v>
                </c:pt>
                <c:pt idx="9">
                  <c:v>14.026291914276282</c:v>
                </c:pt>
                <c:pt idx="10">
                  <c:v>13.637763872749534</c:v>
                </c:pt>
                <c:pt idx="11">
                  <c:v>14.068887615664131</c:v>
                </c:pt>
                <c:pt idx="12">
                  <c:v>14.142922373824979</c:v>
                </c:pt>
                <c:pt idx="13">
                  <c:v>14.305431730267699</c:v>
                </c:pt>
                <c:pt idx="14">
                  <c:v>14.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396608"/>
        <c:axId val="268615680"/>
      </c:lineChart>
      <c:catAx>
        <c:axId val="22739507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238418688"/>
        <c:crosses val="autoZero"/>
        <c:auto val="1"/>
        <c:lblAlgn val="ctr"/>
        <c:lblOffset val="100"/>
        <c:noMultiLvlLbl val="1"/>
      </c:catAx>
      <c:valAx>
        <c:axId val="238418688"/>
        <c:scaling>
          <c:orientation val="minMax"/>
          <c:max val="1.7000000000000002"/>
          <c:min val="1.4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TDS/</a:t>
                </a:r>
                <a:r>
                  <a:rPr lang="en-US" dirty="0" err="1" smtClean="0"/>
                  <a:t>ADt</a:t>
                </a:r>
                <a:endParaRPr lang="en-US" dirty="0"/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227395072"/>
        <c:crosses val="autoZero"/>
        <c:crossBetween val="between"/>
      </c:valAx>
      <c:valAx>
        <c:axId val="268615680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WBL %</a:t>
                </a:r>
                <a:endParaRPr lang="en-US" dirty="0"/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227396608"/>
        <c:crosses val="max"/>
        <c:crossBetween val="between"/>
      </c:valAx>
      <c:catAx>
        <c:axId val="227396608"/>
        <c:scaling>
          <c:orientation val="minMax"/>
        </c:scaling>
        <c:delete val="1"/>
        <c:axPos val="b"/>
        <c:majorTickMark val="out"/>
        <c:minorTickMark val="none"/>
        <c:tickLblPos val="nextTo"/>
        <c:crossAx val="268615680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Pulp Production</c:v>
          </c:tx>
          <c:spPr>
            <a:ln w="19050"/>
          </c:spPr>
          <c:marker>
            <c:symbol val="circle"/>
            <c:size val="4"/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58:$BB$58</c:f>
              <c:numCache>
                <c:formatCode>0</c:formatCode>
                <c:ptCount val="15"/>
                <c:pt idx="0">
                  <c:v>8191.4551859898702</c:v>
                </c:pt>
                <c:pt idx="1">
                  <c:v>8674.4253933189666</c:v>
                </c:pt>
                <c:pt idx="2">
                  <c:v>8430.79365204842</c:v>
                </c:pt>
                <c:pt idx="3">
                  <c:v>8666.3736299031571</c:v>
                </c:pt>
                <c:pt idx="4">
                  <c:v>8701.0099585453172</c:v>
                </c:pt>
                <c:pt idx="5">
                  <c:v>8619.2527013142899</c:v>
                </c:pt>
                <c:pt idx="6">
                  <c:v>8416.0603242738798</c:v>
                </c:pt>
                <c:pt idx="7">
                  <c:v>8307.1222248692666</c:v>
                </c:pt>
                <c:pt idx="8">
                  <c:v>8588.6145772298169</c:v>
                </c:pt>
                <c:pt idx="9">
                  <c:v>8319.4114206298709</c:v>
                </c:pt>
                <c:pt idx="10">
                  <c:v>6936.295819336151</c:v>
                </c:pt>
                <c:pt idx="11">
                  <c:v>8761.0525660361018</c:v>
                </c:pt>
                <c:pt idx="12">
                  <c:v>8767.6263145938992</c:v>
                </c:pt>
                <c:pt idx="13">
                  <c:v>8695.4449620928081</c:v>
                </c:pt>
                <c:pt idx="14">
                  <c:v>89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395584"/>
        <c:axId val="268617408"/>
      </c:lineChart>
      <c:lineChart>
        <c:grouping val="standard"/>
        <c:varyColors val="0"/>
        <c:ser>
          <c:idx val="1"/>
          <c:order val="1"/>
          <c:tx>
            <c:v>WBL Total Solid</c:v>
          </c:tx>
          <c:spPr>
            <a:ln w="19050"/>
          </c:spPr>
          <c:marker>
            <c:symbol val="square"/>
            <c:size val="4"/>
          </c:marker>
          <c:dLbls>
            <c:dLbl>
              <c:idx val="10"/>
              <c:layout>
                <c:manualLayout>
                  <c:x val="-4.2081893666656628E-2"/>
                  <c:y val="-0.1154030876348789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155:$BB$155</c:f>
              <c:numCache>
                <c:formatCode>0</c:formatCode>
                <c:ptCount val="15"/>
                <c:pt idx="0">
                  <c:v>92397.781891153703</c:v>
                </c:pt>
                <c:pt idx="1">
                  <c:v>95691.041044823054</c:v>
                </c:pt>
                <c:pt idx="2">
                  <c:v>93896.8514344</c:v>
                </c:pt>
                <c:pt idx="3">
                  <c:v>97075.757052607587</c:v>
                </c:pt>
                <c:pt idx="4">
                  <c:v>95723.564744026429</c:v>
                </c:pt>
                <c:pt idx="5">
                  <c:v>95115.268549728396</c:v>
                </c:pt>
                <c:pt idx="6">
                  <c:v>94538.514967210838</c:v>
                </c:pt>
                <c:pt idx="7">
                  <c:v>94266.245667887066</c:v>
                </c:pt>
                <c:pt idx="8">
                  <c:v>95818.35638416608</c:v>
                </c:pt>
                <c:pt idx="9">
                  <c:v>89005.587119707561</c:v>
                </c:pt>
                <c:pt idx="10">
                  <c:v>77342.712320614781</c:v>
                </c:pt>
                <c:pt idx="11">
                  <c:v>91866.558396985449</c:v>
                </c:pt>
                <c:pt idx="12">
                  <c:v>89933.777437610013</c:v>
                </c:pt>
                <c:pt idx="13">
                  <c:v>89849.140766803714</c:v>
                </c:pt>
                <c:pt idx="14">
                  <c:v>9172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512320"/>
        <c:axId val="268617984"/>
      </c:lineChart>
      <c:catAx>
        <c:axId val="22739558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268617408"/>
        <c:crosses val="autoZero"/>
        <c:auto val="1"/>
        <c:lblAlgn val="ctr"/>
        <c:lblOffset val="100"/>
        <c:noMultiLvlLbl val="1"/>
      </c:catAx>
      <c:valAx>
        <c:axId val="268617408"/>
        <c:scaling>
          <c:orientation val="minMax"/>
          <c:max val="9900"/>
          <c:min val="65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err="1" smtClean="0"/>
                  <a:t>Adt</a:t>
                </a:r>
                <a:endParaRPr lang="en-US" dirty="0"/>
              </a:p>
            </c:rich>
          </c:tx>
          <c:layout/>
          <c:overlay val="0"/>
        </c:title>
        <c:numFmt formatCode="0" sourceLinked="1"/>
        <c:majorTickMark val="out"/>
        <c:minorTickMark val="none"/>
        <c:tickLblPos val="nextTo"/>
        <c:crossAx val="227395584"/>
        <c:crosses val="autoZero"/>
        <c:crossBetween val="between"/>
      </c:valAx>
      <c:valAx>
        <c:axId val="268617984"/>
        <c:scaling>
          <c:orientation val="minMax"/>
          <c:min val="600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3/day</a:t>
                </a:r>
                <a:endParaRPr lang="en-US" dirty="0"/>
              </a:p>
            </c:rich>
          </c:tx>
          <c:layout/>
          <c:overlay val="0"/>
        </c:title>
        <c:numFmt formatCode="0" sourceLinked="1"/>
        <c:majorTickMark val="out"/>
        <c:minorTickMark val="none"/>
        <c:tickLblPos val="nextTo"/>
        <c:crossAx val="227512320"/>
        <c:crosses val="max"/>
        <c:crossBetween val="between"/>
      </c:valAx>
      <c:catAx>
        <c:axId val="227512320"/>
        <c:scaling>
          <c:orientation val="minMax"/>
        </c:scaling>
        <c:delete val="1"/>
        <c:axPos val="b"/>
        <c:majorTickMark val="out"/>
        <c:minorTickMark val="none"/>
        <c:tickLblPos val="nextTo"/>
        <c:crossAx val="268617984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RB Total TDS</c:v>
          </c:tx>
          <c:spPr>
            <a:ln w="19050"/>
          </c:spPr>
          <c:marker>
            <c:symbol val="circle"/>
            <c:size val="4"/>
          </c:marker>
          <c:dLbls>
            <c:dLbl>
              <c:idx val="12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528192"/>
        <c:axId val="268621440"/>
      </c:lineChart>
      <c:lineChart>
        <c:grouping val="standard"/>
        <c:varyColors val="0"/>
        <c:ser>
          <c:idx val="1"/>
          <c:order val="1"/>
          <c:tx>
            <c:v>TS HBL Firing</c:v>
          </c:tx>
          <c:spPr>
            <a:ln w="19050"/>
          </c:spPr>
          <c:marker>
            <c:symbol val="square"/>
            <c:size val="4"/>
          </c:marker>
          <c:dLbls>
            <c:dLbl>
              <c:idx val="12"/>
              <c:numFmt formatCode="#,##0.0" sourceLinked="0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numFmt formatCode="#,##0.0" sourceLinked="0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numFmt formatCode="#,##0.0" sourceLinked="0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166:$BB$166</c:f>
              <c:numCache>
                <c:formatCode>0.0</c:formatCode>
                <c:ptCount val="15"/>
                <c:pt idx="0">
                  <c:v>73.75242541341477</c:v>
                </c:pt>
                <c:pt idx="1">
                  <c:v>73.745171577592657</c:v>
                </c:pt>
                <c:pt idx="2">
                  <c:v>74.184906135188129</c:v>
                </c:pt>
                <c:pt idx="3">
                  <c:v>73.640284241253809</c:v>
                </c:pt>
                <c:pt idx="4">
                  <c:v>73.252803966392733</c:v>
                </c:pt>
                <c:pt idx="5">
                  <c:v>72.882568444038569</c:v>
                </c:pt>
                <c:pt idx="6">
                  <c:v>72.527477733072658</c:v>
                </c:pt>
                <c:pt idx="7">
                  <c:v>72.999925958585465</c:v>
                </c:pt>
                <c:pt idx="8">
                  <c:v>73.119197401587186</c:v>
                </c:pt>
                <c:pt idx="9">
                  <c:v>72.669174343944505</c:v>
                </c:pt>
                <c:pt idx="10">
                  <c:v>73.340812629819439</c:v>
                </c:pt>
                <c:pt idx="11">
                  <c:v>73.577209337521765</c:v>
                </c:pt>
                <c:pt idx="12">
                  <c:v>74.142814233674642</c:v>
                </c:pt>
                <c:pt idx="13">
                  <c:v>74.575944536547496</c:v>
                </c:pt>
                <c:pt idx="14">
                  <c:v>74.9000000000000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570688"/>
        <c:axId val="268622016"/>
      </c:lineChart>
      <c:catAx>
        <c:axId val="22752819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268621440"/>
        <c:crosses val="autoZero"/>
        <c:auto val="1"/>
        <c:lblAlgn val="ctr"/>
        <c:lblOffset val="100"/>
        <c:noMultiLvlLbl val="1"/>
      </c:catAx>
      <c:valAx>
        <c:axId val="268621440"/>
        <c:scaling>
          <c:orientation val="minMax"/>
          <c:max val="1.6500000000000001"/>
          <c:min val="1.47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DS/Adt</a:t>
                </a:r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227528192"/>
        <c:crosses val="autoZero"/>
        <c:crossBetween val="between"/>
      </c:valAx>
      <c:valAx>
        <c:axId val="268622016"/>
        <c:scaling>
          <c:orientation val="minMax"/>
          <c:min val="7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Total Solid %</a:t>
                </a:r>
                <a:endParaRPr lang="en-US" dirty="0"/>
              </a:p>
            </c:rich>
          </c:tx>
          <c:layout/>
          <c:overlay val="0"/>
        </c:title>
        <c:numFmt formatCode="0.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227570688"/>
        <c:crosses val="max"/>
        <c:crossBetween val="between"/>
      </c:valAx>
      <c:catAx>
        <c:axId val="227570688"/>
        <c:scaling>
          <c:orientation val="minMax"/>
        </c:scaling>
        <c:delete val="1"/>
        <c:axPos val="b"/>
        <c:majorTickMark val="out"/>
        <c:minorTickMark val="none"/>
        <c:tickLblPos val="nextTo"/>
        <c:crossAx val="26862201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tx1"/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TDS RB</c:v>
          </c:tx>
          <c:spPr>
            <a:ln w="19050"/>
          </c:spPr>
          <c:marker>
            <c:symbol val="circle"/>
            <c:size val="4"/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569664"/>
        <c:axId val="268853248"/>
      </c:lineChart>
      <c:lineChart>
        <c:grouping val="standard"/>
        <c:varyColors val="0"/>
        <c:ser>
          <c:idx val="1"/>
          <c:order val="1"/>
          <c:tx>
            <c:v>Volume HBL firing</c:v>
          </c:tx>
          <c:spPr>
            <a:ln w="19050"/>
          </c:spPr>
          <c:marker>
            <c:symbol val="square"/>
            <c:size val="4"/>
          </c:marker>
          <c:dLbls>
            <c:numFmt formatCode="#,##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172:$BB$172</c:f>
              <c:numCache>
                <c:formatCode>0.0</c:formatCode>
                <c:ptCount val="15"/>
                <c:pt idx="0">
                  <c:v>557.011366443827</c:v>
                </c:pt>
                <c:pt idx="1">
                  <c:v>602.39206892377979</c:v>
                </c:pt>
                <c:pt idx="2">
                  <c:v>575.40478070974336</c:v>
                </c:pt>
                <c:pt idx="3">
                  <c:v>591.92890365642393</c:v>
                </c:pt>
                <c:pt idx="4">
                  <c:v>579.38650608789749</c:v>
                </c:pt>
                <c:pt idx="5">
                  <c:v>592.60694782800965</c:v>
                </c:pt>
                <c:pt idx="6">
                  <c:v>584.5126067791291</c:v>
                </c:pt>
                <c:pt idx="7">
                  <c:v>572.3453445481158</c:v>
                </c:pt>
                <c:pt idx="8">
                  <c:v>590.48397629214423</c:v>
                </c:pt>
                <c:pt idx="9">
                  <c:v>561.7422121691053</c:v>
                </c:pt>
                <c:pt idx="10">
                  <c:v>472.86509857857112</c:v>
                </c:pt>
                <c:pt idx="11">
                  <c:v>587.1413149530614</c:v>
                </c:pt>
                <c:pt idx="12">
                  <c:v>586.1443996436202</c:v>
                </c:pt>
                <c:pt idx="13">
                  <c:v>580.42325420999748</c:v>
                </c:pt>
                <c:pt idx="14">
                  <c:v>598.200000000000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571712"/>
        <c:axId val="268853824"/>
      </c:lineChart>
      <c:catAx>
        <c:axId val="22756966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268853248"/>
        <c:crosses val="autoZero"/>
        <c:auto val="1"/>
        <c:lblAlgn val="ctr"/>
        <c:lblOffset val="100"/>
        <c:noMultiLvlLbl val="1"/>
      </c:catAx>
      <c:valAx>
        <c:axId val="268853248"/>
        <c:scaling>
          <c:orientation val="minMax"/>
          <c:max val="1.7000000000000002"/>
          <c:min val="1.4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DS/Adt</a:t>
                </a:r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227569664"/>
        <c:crosses val="autoZero"/>
        <c:crossBetween val="between"/>
      </c:valAx>
      <c:valAx>
        <c:axId val="268853824"/>
        <c:scaling>
          <c:orientation val="minMax"/>
          <c:min val="3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3/</a:t>
                </a:r>
                <a:r>
                  <a:rPr lang="en-US" dirty="0" err="1" smtClean="0"/>
                  <a:t>hr</a:t>
                </a:r>
                <a:endParaRPr lang="en-US" dirty="0"/>
              </a:p>
            </c:rich>
          </c:tx>
          <c:layout/>
          <c:overlay val="0"/>
        </c:title>
        <c:numFmt formatCode="0.0" sourceLinked="1"/>
        <c:majorTickMark val="out"/>
        <c:minorTickMark val="none"/>
        <c:tickLblPos val="nextTo"/>
        <c:crossAx val="227571712"/>
        <c:crosses val="max"/>
        <c:crossBetween val="between"/>
      </c:valAx>
      <c:catAx>
        <c:axId val="227571712"/>
        <c:scaling>
          <c:orientation val="minMax"/>
        </c:scaling>
        <c:delete val="1"/>
        <c:axPos val="b"/>
        <c:majorTickMark val="out"/>
        <c:minorTickMark val="none"/>
        <c:tickLblPos val="nextTo"/>
        <c:crossAx val="268853824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ysClr val="windowText" lastClr="000000"/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TDS RB</c:v>
          </c:tx>
          <c:spPr>
            <a:ln w="19050"/>
          </c:spPr>
          <c:marker>
            <c:symbol val="circle"/>
            <c:size val="4"/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Summary WBL &amp;  HBL (2025) (3).xlsx]WBL FL 9'!$F$74:$F$87</c:f>
              <c:numCache>
                <c:formatCode>d\-mmm\-yy</c:formatCode>
                <c:ptCount val="14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  <c:pt idx="13">
                  <c:v>45689</c:v>
                </c:pt>
              </c:numCache>
            </c:numRef>
          </c:cat>
          <c:val>
            <c:numRef>
              <c:f>'[Summary WBL &amp;  HBL (2025) (3).xlsx]WBL FL 9'!$D$106:$Q$106</c:f>
              <c:numCache>
                <c:formatCode>General</c:formatCode>
                <c:ptCount val="14"/>
                <c:pt idx="0">
                  <c:v>1.55</c:v>
                </c:pt>
                <c:pt idx="1">
                  <c:v>1.57</c:v>
                </c:pt>
                <c:pt idx="2">
                  <c:v>1.55</c:v>
                </c:pt>
                <c:pt idx="3">
                  <c:v>1.55</c:v>
                </c:pt>
                <c:pt idx="4">
                  <c:v>1.51</c:v>
                </c:pt>
                <c:pt idx="5">
                  <c:v>1.53</c:v>
                </c:pt>
                <c:pt idx="6">
                  <c:v>1.54</c:v>
                </c:pt>
                <c:pt idx="7">
                  <c:v>1.54</c:v>
                </c:pt>
                <c:pt idx="8">
                  <c:v>1.53</c:v>
                </c:pt>
                <c:pt idx="9">
                  <c:v>1.5</c:v>
                </c:pt>
                <c:pt idx="10">
                  <c:v>1.55</c:v>
                </c:pt>
                <c:pt idx="11">
                  <c:v>1.54</c:v>
                </c:pt>
                <c:pt idx="12">
                  <c:v>1.55</c:v>
                </c:pt>
                <c:pt idx="13">
                  <c:v>1.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661312"/>
        <c:axId val="268856704"/>
      </c:lineChart>
      <c:lineChart>
        <c:grouping val="standard"/>
        <c:varyColors val="0"/>
        <c:ser>
          <c:idx val="1"/>
          <c:order val="1"/>
          <c:tx>
            <c:v>Organic Content in TS</c:v>
          </c:tx>
          <c:spPr>
            <a:ln w="19050"/>
          </c:spPr>
          <c:marker>
            <c:symbol val="square"/>
            <c:size val="4"/>
          </c:marker>
          <c:dLbls>
            <c:numFmt formatCode="#,##0.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Summary WBL &amp;  HBL (2025) (3).xlsx]WBL FL 9'!$F$74:$F$87</c:f>
              <c:numCache>
                <c:formatCode>d\-mmm\-yy</c:formatCode>
                <c:ptCount val="14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  <c:pt idx="13">
                  <c:v>45689</c:v>
                </c:pt>
              </c:numCache>
            </c:numRef>
          </c:cat>
          <c:val>
            <c:numRef>
              <c:f>'[Summary WBL &amp;  HBL (2025) (3).xlsx]WBL FL 9'!$J$90:$J$103</c:f>
              <c:numCache>
                <c:formatCode>General</c:formatCode>
                <c:ptCount val="14"/>
                <c:pt idx="0">
                  <c:v>61.145875000000004</c:v>
                </c:pt>
                <c:pt idx="1">
                  <c:v>61.95</c:v>
                </c:pt>
                <c:pt idx="2">
                  <c:v>62.610624999999999</c:v>
                </c:pt>
                <c:pt idx="3">
                  <c:v>61.974375000000002</c:v>
                </c:pt>
                <c:pt idx="4">
                  <c:v>61.766749999999995</c:v>
                </c:pt>
                <c:pt idx="5">
                  <c:v>61.947500000000005</c:v>
                </c:pt>
                <c:pt idx="6">
                  <c:v>62.049000000000007</c:v>
                </c:pt>
                <c:pt idx="7">
                  <c:v>62.047708333333333</c:v>
                </c:pt>
                <c:pt idx="8">
                  <c:v>61.540624999999999</c:v>
                </c:pt>
                <c:pt idx="9">
                  <c:v>62.398125</c:v>
                </c:pt>
                <c:pt idx="10">
                  <c:v>61.579374999999999</c:v>
                </c:pt>
                <c:pt idx="11">
                  <c:v>61.649374999999999</c:v>
                </c:pt>
                <c:pt idx="12">
                  <c:v>61.825875000000003</c:v>
                </c:pt>
                <c:pt idx="13">
                  <c:v>62.15749999999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662848"/>
        <c:axId val="268857280"/>
      </c:lineChart>
      <c:dateAx>
        <c:axId val="227661312"/>
        <c:scaling>
          <c:orientation val="minMax"/>
        </c:scaling>
        <c:delete val="0"/>
        <c:axPos val="b"/>
        <c:numFmt formatCode="d\-mmm\-yy" sourceLinked="1"/>
        <c:majorTickMark val="out"/>
        <c:minorTickMark val="none"/>
        <c:tickLblPos val="nextTo"/>
        <c:crossAx val="268856704"/>
        <c:crosses val="autoZero"/>
        <c:auto val="1"/>
        <c:lblOffset val="100"/>
        <c:baseTimeUnit val="months"/>
      </c:dateAx>
      <c:valAx>
        <c:axId val="268856704"/>
        <c:scaling>
          <c:orientation val="minMax"/>
          <c:max val="1.6500000000000001"/>
          <c:min val="1.47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DS/Adt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27661312"/>
        <c:crosses val="autoZero"/>
        <c:crossBetween val="between"/>
      </c:valAx>
      <c:valAx>
        <c:axId val="268857280"/>
        <c:scaling>
          <c:orientation val="minMax"/>
          <c:min val="6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Organic Content ,%DB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27662848"/>
        <c:crosses val="max"/>
        <c:crossBetween val="between"/>
      </c:valAx>
      <c:dateAx>
        <c:axId val="227662848"/>
        <c:scaling>
          <c:orientation val="minMax"/>
        </c:scaling>
        <c:delete val="1"/>
        <c:axPos val="b"/>
        <c:numFmt formatCode="d\-mmm\-yy" sourceLinked="1"/>
        <c:majorTickMark val="out"/>
        <c:minorTickMark val="none"/>
        <c:tickLblPos val="nextTo"/>
        <c:crossAx val="268857280"/>
        <c:crosses val="autoZero"/>
        <c:auto val="1"/>
        <c:lblOffset val="100"/>
        <c:baseTimeUnit val="months"/>
      </c:date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ysClr val="windowText" lastClr="000000"/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RB Total TDS</c:v>
          </c:tx>
          <c:spPr>
            <a:ln w="19050"/>
          </c:spPr>
          <c:marker>
            <c:symbol val="circle"/>
            <c:size val="5"/>
            <c:spPr>
              <a:solidFill>
                <a:schemeClr val="tx2"/>
              </a:solidFill>
            </c:spPr>
          </c:marker>
          <c:dLbls>
            <c:dLbl>
              <c:idx val="10"/>
              <c:layout>
                <c:manualLayout>
                  <c:x val="-3.0872880754770436E-2"/>
                  <c:y val="-3.73748906386702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N$1:$BB$1</c:f>
              <c:strCache>
                <c:ptCount val="15"/>
                <c:pt idx="0">
                  <c:v>Jan-24</c:v>
                </c:pt>
                <c:pt idx="1">
                  <c:v>Feb-24</c:v>
                </c:pt>
                <c:pt idx="2">
                  <c:v>Mar-24</c:v>
                </c:pt>
                <c:pt idx="3">
                  <c:v>Apr-24</c:v>
                </c:pt>
                <c:pt idx="4">
                  <c:v>May-24</c:v>
                </c:pt>
                <c:pt idx="5">
                  <c:v>Jun-24</c:v>
                </c:pt>
                <c:pt idx="6">
                  <c:v>Jul-24</c:v>
                </c:pt>
                <c:pt idx="7">
                  <c:v>Aug-24</c:v>
                </c:pt>
                <c:pt idx="8">
                  <c:v>Sep-24</c:v>
                </c:pt>
                <c:pt idx="9">
                  <c:v>Oct-24</c:v>
                </c:pt>
                <c:pt idx="10">
                  <c:v>Nov-24</c:v>
                </c:pt>
                <c:pt idx="11">
                  <c:v>Dec-24</c:v>
                </c:pt>
                <c:pt idx="12">
                  <c:v>Jan-25</c:v>
                </c:pt>
                <c:pt idx="13">
                  <c:v>Feb-25</c:v>
                </c:pt>
                <c:pt idx="14">
                  <c:v>Mar-25</c:v>
                </c:pt>
              </c:strCache>
            </c:strRef>
          </c:cat>
          <c:val>
            <c:numRef>
              <c:f>Sum!$AN$80:$BB$80</c:f>
              <c:numCache>
                <c:formatCode>0.00</c:formatCode>
                <c:ptCount val="15"/>
                <c:pt idx="0">
                  <c:v>1.5500360649870446</c:v>
                </c:pt>
                <c:pt idx="1">
                  <c:v>1.5663041295962432</c:v>
                </c:pt>
                <c:pt idx="2">
                  <c:v>1.5474313330862874</c:v>
                </c:pt>
                <c:pt idx="3">
                  <c:v>1.5454596386598189</c:v>
                </c:pt>
                <c:pt idx="4">
                  <c:v>1.5135788905178205</c:v>
                </c:pt>
                <c:pt idx="5">
                  <c:v>1.5286012396471329</c:v>
                </c:pt>
                <c:pt idx="6">
                  <c:v>1.5357281802691798</c:v>
                </c:pt>
                <c:pt idx="7">
                  <c:v>1.5428459129084395</c:v>
                </c:pt>
                <c:pt idx="8">
                  <c:v>1.5330804046163835</c:v>
                </c:pt>
                <c:pt idx="9">
                  <c:v>1.5032287598359371</c:v>
                </c:pt>
                <c:pt idx="10">
                  <c:v>1.5457655193213817</c:v>
                </c:pt>
                <c:pt idx="11">
                  <c:v>1.5375867492347741</c:v>
                </c:pt>
                <c:pt idx="12">
                  <c:v>1.5501380417327248</c:v>
                </c:pt>
                <c:pt idx="13">
                  <c:v>1.5661978313107308</c:v>
                </c:pt>
                <c:pt idx="14">
                  <c:v>1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661824"/>
        <c:axId val="268859008"/>
      </c:lineChart>
      <c:lineChart>
        <c:grouping val="standard"/>
        <c:varyColors val="0"/>
        <c:ser>
          <c:idx val="1"/>
          <c:order val="1"/>
          <c:tx>
            <c:v>WBL Total Solid</c:v>
          </c:tx>
          <c:spPr>
            <a:ln w="19050">
              <a:solidFill>
                <a:srgbClr val="C00000"/>
              </a:solidFill>
            </a:ln>
          </c:spPr>
          <c:marker>
            <c:symbol val="square"/>
            <c:size val="4"/>
            <c:spPr>
              <a:solidFill>
                <a:srgbClr val="C00000"/>
              </a:solidFill>
            </c:spPr>
          </c:marker>
          <c:dLbls>
            <c:dLbl>
              <c:idx val="10"/>
              <c:layout>
                <c:manualLayout>
                  <c:x val="-2.9239909200539121E-2"/>
                  <c:y val="4.01526684164479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/>
                <a:lstStyle/>
                <a:p>
                  <a:pPr>
                    <a:defRPr b="1">
                      <a:solidFill>
                        <a:srgbClr val="FF0000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um!$AB$1:$BB$1</c:f>
              <c:strCache>
                <c:ptCount val="27"/>
                <c:pt idx="0">
                  <c:v>Jan-23</c:v>
                </c:pt>
                <c:pt idx="1">
                  <c:v>Feb-23</c:v>
                </c:pt>
                <c:pt idx="2">
                  <c:v>Mar-23</c:v>
                </c:pt>
                <c:pt idx="3">
                  <c:v>Apr-23</c:v>
                </c:pt>
                <c:pt idx="4">
                  <c:v>May-23</c:v>
                </c:pt>
                <c:pt idx="5">
                  <c:v>Jun-23</c:v>
                </c:pt>
                <c:pt idx="6">
                  <c:v>Jul-23</c:v>
                </c:pt>
                <c:pt idx="7">
                  <c:v>Aug-23</c:v>
                </c:pt>
                <c:pt idx="8">
                  <c:v>Sep-23</c:v>
                </c:pt>
                <c:pt idx="9">
                  <c:v>Oct-23</c:v>
                </c:pt>
                <c:pt idx="10">
                  <c:v>Nov-23</c:v>
                </c:pt>
                <c:pt idx="11">
                  <c:v>Dec-23</c:v>
                </c:pt>
                <c:pt idx="12">
                  <c:v>Jan-24</c:v>
                </c:pt>
                <c:pt idx="13">
                  <c:v>Feb-24</c:v>
                </c:pt>
                <c:pt idx="14">
                  <c:v>Mar-24</c:v>
                </c:pt>
                <c:pt idx="15">
                  <c:v>Apr-24</c:v>
                </c:pt>
                <c:pt idx="16">
                  <c:v>May-24</c:v>
                </c:pt>
                <c:pt idx="17">
                  <c:v>Jun-24</c:v>
                </c:pt>
                <c:pt idx="18">
                  <c:v>Jul-24</c:v>
                </c:pt>
                <c:pt idx="19">
                  <c:v>Aug-24</c:v>
                </c:pt>
                <c:pt idx="20">
                  <c:v>Sep-24</c:v>
                </c:pt>
                <c:pt idx="21">
                  <c:v>Oct-24</c:v>
                </c:pt>
                <c:pt idx="22">
                  <c:v>Nov-24</c:v>
                </c:pt>
                <c:pt idx="23">
                  <c:v>Dec-24</c:v>
                </c:pt>
                <c:pt idx="24">
                  <c:v>Jan-25</c:v>
                </c:pt>
                <c:pt idx="25">
                  <c:v>Feb-25</c:v>
                </c:pt>
                <c:pt idx="26">
                  <c:v>Mar-25</c:v>
                </c:pt>
              </c:strCache>
            </c:strRef>
          </c:cat>
          <c:val>
            <c:numRef>
              <c:f>Sum!$AN$148:$BB$148</c:f>
              <c:numCache>
                <c:formatCode>0.00</c:formatCode>
                <c:ptCount val="15"/>
                <c:pt idx="0">
                  <c:v>13.93381320832045</c:v>
                </c:pt>
                <c:pt idx="1">
                  <c:v>14.20893135907742</c:v>
                </c:pt>
                <c:pt idx="2">
                  <c:v>14.053059464492826</c:v>
                </c:pt>
                <c:pt idx="3">
                  <c:v>14.220436388039676</c:v>
                </c:pt>
                <c:pt idx="4">
                  <c:v>14.081499461744764</c:v>
                </c:pt>
                <c:pt idx="5">
                  <c:v>14.276704381531619</c:v>
                </c:pt>
                <c:pt idx="6">
                  <c:v>14.400562366202074</c:v>
                </c:pt>
                <c:pt idx="7">
                  <c:v>14.19746689925193</c:v>
                </c:pt>
                <c:pt idx="8">
                  <c:v>14.081536714882985</c:v>
                </c:pt>
                <c:pt idx="9">
                  <c:v>14.026291914276282</c:v>
                </c:pt>
                <c:pt idx="10">
                  <c:v>13.637763872749534</c:v>
                </c:pt>
                <c:pt idx="11">
                  <c:v>14.068887615664131</c:v>
                </c:pt>
                <c:pt idx="12">
                  <c:v>14.142922373824979</c:v>
                </c:pt>
                <c:pt idx="13">
                  <c:v>14.305431730267699</c:v>
                </c:pt>
                <c:pt idx="14">
                  <c:v>14.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7778560"/>
        <c:axId val="268859584"/>
      </c:lineChart>
      <c:catAx>
        <c:axId val="22766182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268859008"/>
        <c:crosses val="autoZero"/>
        <c:auto val="1"/>
        <c:lblAlgn val="ctr"/>
        <c:lblOffset val="100"/>
        <c:noMultiLvlLbl val="1"/>
      </c:catAx>
      <c:valAx>
        <c:axId val="268859008"/>
        <c:scaling>
          <c:orientation val="minMax"/>
          <c:max val="1.7000000000000002"/>
          <c:min val="1.4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TDS/</a:t>
                </a:r>
                <a:r>
                  <a:rPr lang="en-US" dirty="0" err="1" smtClean="0"/>
                  <a:t>ADt</a:t>
                </a:r>
                <a:endParaRPr lang="en-US" dirty="0"/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227661824"/>
        <c:crosses val="autoZero"/>
        <c:crossBetween val="between"/>
      </c:valAx>
      <c:valAx>
        <c:axId val="268859584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WBL %</a:t>
                </a:r>
                <a:endParaRPr lang="en-US" dirty="0"/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227778560"/>
        <c:crosses val="max"/>
        <c:crossBetween val="between"/>
      </c:valAx>
      <c:catAx>
        <c:axId val="227778560"/>
        <c:scaling>
          <c:orientation val="minMax"/>
        </c:scaling>
        <c:delete val="1"/>
        <c:axPos val="b"/>
        <c:majorTickMark val="out"/>
        <c:minorTickMark val="none"/>
        <c:tickLblPos val="nextTo"/>
        <c:crossAx val="268859584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txPr>
    <a:bodyPr/>
    <a:lstStyle/>
    <a:p>
      <a:pPr>
        <a:defRPr sz="7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A7A128-CC10-419A-8C1F-B5A6EFBB27DD}" type="datetimeFigureOut">
              <a:rPr lang="en-US" smtClean="0"/>
              <a:t>6/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8578CE-8BD5-4DD8-BCA5-7154370CA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2016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28638" y="622300"/>
            <a:ext cx="7858126" cy="4367213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sp>
      <p:sp>
        <p:nvSpPr>
          <p:cNvPr id="20483" name="Rectangle 3"/>
          <p:cNvSpPr>
            <a:spLocks noGrp="1" noRot="1" noChangeAspect="1" noChangeArrowheads="1" noTextEdit="1"/>
          </p:cNvSpPr>
          <p:nvPr/>
        </p:nvSpPr>
        <p:spPr bwMode="auto">
          <a:xfrm>
            <a:off x="471035" y="5333709"/>
            <a:ext cx="5860224" cy="1232552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en-US" altLang="en-US" sz="1300" dirty="0" smtClean="0">
                <a:latin typeface="Arial" pitchFamily="34" charset="0"/>
              </a:rPr>
              <a:t>  </a:t>
            </a:r>
            <a:endParaRPr lang="en-US" altLang="en-US" sz="1300" dirty="0">
              <a:latin typeface="Arial" pitchFamily="34" charset="0"/>
            </a:endParaRPr>
          </a:p>
          <a:p>
            <a:pPr defTabSz="0">
              <a:spcBef>
                <a:spcPct val="30000"/>
              </a:spcBef>
              <a:buFontTx/>
              <a:buNone/>
              <a:defRPr/>
            </a:pPr>
            <a:endParaRPr lang="en-US" altLang="en-US" sz="1300" dirty="0">
              <a:latin typeface="Arial" pitchFamily="34" charset="0"/>
            </a:endParaRPr>
          </a:p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en-US" sz="1300" dirty="0" smtClean="0">
                <a:latin typeface="Arial" pitchFamily="34" charset="0"/>
              </a:rPr>
              <a:t>  </a:t>
            </a:r>
            <a:endParaRPr lang="en-US" altLang="en-US" sz="1300" dirty="0">
              <a:latin typeface="Arial" pitchFamily="34" charset="0"/>
            </a:endParaRPr>
          </a:p>
          <a:p>
            <a:pPr defTabSz="0">
              <a:spcBef>
                <a:spcPct val="30000"/>
              </a:spcBef>
              <a:buFontTx/>
              <a:buNone/>
              <a:defRPr/>
            </a:pPr>
            <a:endParaRPr lang="en-US" altLang="en-US" sz="1300" dirty="0">
              <a:latin typeface="Arial" pitchFamily="34" charset="0"/>
            </a:endParaRPr>
          </a:p>
          <a:p>
            <a:pPr defTabSz="0">
              <a:spcBef>
                <a:spcPct val="30000"/>
              </a:spcBef>
              <a:buFontTx/>
              <a:buNone/>
              <a:defRPr/>
            </a:pPr>
            <a:r>
              <a:rPr lang="en-US" sz="1300" dirty="0" smtClean="0">
                <a:latin typeface="Arial" pitchFamily="34" charset="0"/>
              </a:rPr>
              <a:t>  </a:t>
            </a:r>
            <a:endParaRPr lang="en-US" altLang="en-US" sz="1300" dirty="0">
              <a:latin typeface="Arial" pitchFamily="34" charset="0"/>
            </a:endParaRPr>
          </a:p>
        </p:txBody>
      </p:sp>
      <p:sp>
        <p:nvSpPr>
          <p:cNvPr id="2048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9588" y="9492711"/>
            <a:ext cx="251672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buFont typeface="Arial" pitchFamily="34" charset="0"/>
              <a:buNone/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B220F14A-D454-40E1-9C23-E23C515327E5}" type="slidenum">
              <a:rPr lang="en-US"/>
              <a:pPr>
                <a:defRPr/>
              </a:pPr>
              <a:t>‹#›</a:t>
            </a:fld>
            <a:endParaRPr lang="en-US" sz="1300" dirty="0"/>
          </a:p>
        </p:txBody>
      </p:sp>
      <p:sp>
        <p:nvSpPr>
          <p:cNvPr id="20485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31195" y="99612"/>
            <a:ext cx="65" cy="138499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buFont typeface="Arial" pitchFamily="34" charset="0"/>
              <a:buNone/>
              <a:defRPr sz="90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7254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1pPr>
    <a:lvl2pPr marL="4572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2pPr>
    <a:lvl3pPr marL="9144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3pPr>
    <a:lvl4pPr marL="13716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4pPr>
    <a:lvl5pPr marL="18288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0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1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2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3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4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15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2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3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4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5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6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39521954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7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8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0F14A-D454-40E1-9C23-E23C515327E5}" type="slidenum">
              <a:rPr lang="en-US" smtClean="0"/>
              <a:pPr>
                <a:defRPr/>
              </a:pPr>
              <a:t>9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02378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8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0.jpeg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1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12.emf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27241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97153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483" y="238125"/>
            <a:ext cx="11729322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216729"/>
              </p:ext>
            </p:extLst>
          </p:nvPr>
        </p:nvGraphicFramePr>
        <p:xfrm>
          <a:off x="1" y="0"/>
          <a:ext cx="21431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431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 bwMode="auto">
          <a:xfrm>
            <a:off x="0" y="674380"/>
            <a:ext cx="12344400" cy="6183620"/>
          </a:xfrm>
          <a:prstGeom prst="rect">
            <a:avLst/>
          </a:prstGeom>
          <a:solidFill>
            <a:srgbClr val="FAF5E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408770" y="3334627"/>
            <a:ext cx="1001135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600" b="1" cap="none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408770" y="4791953"/>
            <a:ext cx="10011358" cy="276999"/>
          </a:xfrm>
        </p:spPr>
        <p:txBody>
          <a:bodyPr wrap="square">
            <a:spAutoFit/>
          </a:bodyPr>
          <a:lstStyle>
            <a:lvl1pPr algn="l">
              <a:defRPr sz="18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19" name="Picture 98" descr="http://grafolit.si/images/clients/app-logo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8" y="85900"/>
            <a:ext cx="1694385" cy="4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/>
          <p:cNvSpPr/>
          <p:nvPr userDrawn="1"/>
        </p:nvSpPr>
        <p:spPr bwMode="auto">
          <a:xfrm>
            <a:off x="0" y="674381"/>
            <a:ext cx="12344400" cy="214874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3" name="McK Title Elements" hidden="1"/>
          <p:cNvGrpSpPr>
            <a:grpSpLocks/>
          </p:cNvGrpSpPr>
          <p:nvPr userDrawn="1"/>
        </p:nvGrpSpPr>
        <p:grpSpPr bwMode="auto">
          <a:xfrm>
            <a:off x="408768" y="5972251"/>
            <a:ext cx="6798713" cy="545856"/>
            <a:chOff x="1663" y="3090"/>
            <a:chExt cx="3109" cy="337"/>
          </a:xfrm>
        </p:grpSpPr>
        <p:sp>
          <p:nvSpPr>
            <p:cNvPr id="39" name="McK Document type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mtClean="0">
                  <a:solidFill>
                    <a:srgbClr val="000000"/>
                  </a:solidFill>
                  <a:latin typeface="Calibri"/>
                </a:rPr>
                <a:t>Document type</a:t>
              </a:r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dirty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grpSp>
        <p:nvGrpSpPr>
          <p:cNvPr id="4" name="Group 16"/>
          <p:cNvGrpSpPr/>
          <p:nvPr userDrawn="1"/>
        </p:nvGrpSpPr>
        <p:grpSpPr bwMode="auto">
          <a:xfrm>
            <a:off x="0" y="6786812"/>
            <a:ext cx="12344400" cy="71190"/>
            <a:chOff x="0" y="6786810"/>
            <a:chExt cx="9144000" cy="71190"/>
          </a:xfrm>
        </p:grpSpPr>
        <p:sp>
          <p:nvSpPr>
            <p:cNvPr id="48" name="Rectangle 47"/>
            <p:cNvSpPr>
              <a:spLocks/>
            </p:cNvSpPr>
            <p:nvPr userDrawn="1"/>
          </p:nvSpPr>
          <p:spPr bwMode="auto">
            <a:xfrm>
              <a:off x="2653553" y="6786810"/>
              <a:ext cx="6490447" cy="71190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7" name="Rectangle 46"/>
            <p:cNvSpPr/>
            <p:nvPr userDrawn="1"/>
          </p:nvSpPr>
          <p:spPr bwMode="auto">
            <a:xfrm>
              <a:off x="0" y="6786810"/>
              <a:ext cx="2653553" cy="7119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000000"/>
                </a:solidFill>
                <a:latin typeface="Calibri"/>
              </a:endParaRPr>
            </a:p>
          </p:txBody>
        </p:sp>
        <p:cxnSp>
          <p:nvCxnSpPr>
            <p:cNvPr id="16" name="Straight Connector 15"/>
            <p:cNvCxnSpPr>
              <a:cxnSpLocks/>
            </p:cNvCxnSpPr>
            <p:nvPr userDrawn="1"/>
          </p:nvCxnSpPr>
          <p:spPr bwMode="auto">
            <a:xfrm>
              <a:off x="2653553" y="6786810"/>
              <a:ext cx="0" cy="7119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Picture 168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9697" y="889264"/>
            <a:ext cx="2972515" cy="150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169"/>
          <p:cNvPicPr>
            <a:picLocks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5" y="889264"/>
            <a:ext cx="2983230" cy="150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196" descr="Spiral Sketch Book"/>
          <p:cNvPicPr>
            <a:picLocks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371903" y="889419"/>
            <a:ext cx="2972515" cy="150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99" descr="http://4.bp.blogspot.com/-jQXSyQxEnk0/To0grXC7PxI/AAAAAAAAAfo/bVICghuclQM/s1600/kertas+paperline+gold.jpg"/>
          <p:cNvPicPr>
            <a:picLocks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" y="889419"/>
            <a:ext cx="2972515" cy="150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355925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7195" y="237932"/>
            <a:ext cx="1173003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93130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 noChangeArrowheads="1"/>
          </p:cNvSpPr>
          <p:nvPr>
            <p:ph type="dt" sz="half" idx="10"/>
          </p:nvPr>
        </p:nvSpPr>
        <p:spPr>
          <a:xfrm>
            <a:off x="617220" y="6356379"/>
            <a:ext cx="288036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90C19D-4035-4722-8A87-9B9328989BA5}" type="datetimeFigureOut">
              <a:rPr lang="en-US"/>
              <a:pPr>
                <a:defRPr/>
              </a:pPr>
              <a:t>6/3/2025</a:t>
            </a:fld>
            <a:endParaRPr lang="en-US"/>
          </a:p>
        </p:txBody>
      </p:sp>
      <p:sp>
        <p:nvSpPr>
          <p:cNvPr id="3" name="Footer Placeholder 4"/>
          <p:cNvSpPr>
            <a:spLocks noGrp="1" noChangeArrowheads="1"/>
          </p:cNvSpPr>
          <p:nvPr>
            <p:ph type="ftr" sz="quarter" idx="11"/>
          </p:nvPr>
        </p:nvSpPr>
        <p:spPr>
          <a:xfrm>
            <a:off x="4217670" y="6356379"/>
            <a:ext cx="390906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846820" y="6356379"/>
            <a:ext cx="288036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0D097D-7C3D-4920-9ECB-834896F18E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81"/>
            <a:ext cx="12344400" cy="1800226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sz="1800">
              <a:solidFill>
                <a:prstClr val="black"/>
              </a:solidFill>
              <a:latin typeface="Arial"/>
              <a:ea typeface="+mn-ea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694578" y="692251"/>
            <a:ext cx="2081576" cy="663994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laceholder for client logo</a:t>
            </a:r>
          </a:p>
        </p:txBody>
      </p:sp>
    </p:spTree>
    <p:extLst>
      <p:ext uri="{BB962C8B-B14F-4D97-AF65-F5344CB8AC3E}">
        <p14:creationId xmlns:p14="http://schemas.microsoft.com/office/powerpoint/2010/main" val="390747442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2009" y="1594"/>
          <a:ext cx="197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9" y="1594"/>
                        <a:ext cx="197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738474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33177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69257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3250" y="2520951"/>
            <a:ext cx="592574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0146241" y="2520978"/>
            <a:ext cx="19205258" cy="2462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57048" y="238131"/>
            <a:ext cx="677108" cy="2525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52231" y="238131"/>
            <a:ext cx="1477328" cy="2525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830" y="2130426"/>
            <a:ext cx="1049274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1660" y="3886212"/>
            <a:ext cx="864108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123" y="4406929"/>
            <a:ext cx="1049274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23" y="4099137"/>
            <a:ext cx="1049274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3267" y="2520952"/>
            <a:ext cx="2858929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934" y="2520952"/>
            <a:ext cx="2861073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20" y="274638"/>
            <a:ext cx="11109960" cy="3385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220" y="1805543"/>
            <a:ext cx="54542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" y="2174875"/>
            <a:ext cx="54542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0798" y="1805543"/>
            <a:ext cx="545639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0798" y="2174875"/>
            <a:ext cx="545639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233" y="1127351"/>
            <a:ext cx="406122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320" y="273074"/>
            <a:ext cx="6900863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233" y="1435100"/>
            <a:ext cx="406122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9589" y="5059589"/>
            <a:ext cx="740664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19589" y="612783"/>
            <a:ext cx="740664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 Unicode MS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19589" y="5367338"/>
            <a:ext cx="740664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4346" y="2520950"/>
            <a:ext cx="2954655" cy="1219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95596" y="238131"/>
            <a:ext cx="338554" cy="3502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8420" y="238131"/>
            <a:ext cx="1231106" cy="3502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vmlDrawing" Target="../drawings/vmlDrawing10.v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01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oleObject" Target="../embeddings/oleObject10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oleObject" Target="../embeddings/oleObject11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vmlDrawing" Target="../drawings/vmlDrawing12.v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oleObject" Target="../embeddings/oleObject12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vmlDrawing" Target="../drawings/vmlDrawing13.v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oleObject" Target="../embeddings/oleObject13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vmlDrawing" Target="../drawings/vmlDrawing14.v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oleObject" Target="../embeddings/oleObject14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vmlDrawing" Target="../drawings/vmlDrawing15.v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oleObject" Target="../embeddings/oleObject15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vmlDrawing" Target="../drawings/vmlDrawing16.v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oleObject" Target="../embeddings/oleObject16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vmlDrawing" Target="../drawings/vmlDrawing17.v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oleObject" Target="../embeddings/oleObject17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8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oleObject" Target="../embeddings/oleObject18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slideLayout" Target="../slideLayouts/slideLayout210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0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5" Type="http://schemas.openxmlformats.org/officeDocument/2006/relationships/oleObject" Target="../embeddings/oleObject19.bin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vmlDrawing" Target="../drawings/vmlDrawing19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21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21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211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5.png"/><Relationship Id="rId5" Type="http://schemas.openxmlformats.org/officeDocument/2006/relationships/vmlDrawing" Target="../drawings/vmlDrawing20.vml"/><Relationship Id="rId15" Type="http://schemas.openxmlformats.org/officeDocument/2006/relationships/tags" Target="../tags/tag10.xml"/><Relationship Id="rId23" Type="http://schemas.openxmlformats.org/officeDocument/2006/relationships/image" Target="../media/image1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0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oleObject" Target="../embeddings/oleObject20.bin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slideLayout" Target="../slideLayouts/slideLayout216.xml"/><Relationship Id="rId7" Type="http://schemas.openxmlformats.org/officeDocument/2006/relationships/tags" Target="../tags/tag18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vmlDrawing" Target="../drawings/vmlDrawing22.vml"/><Relationship Id="rId5" Type="http://schemas.openxmlformats.org/officeDocument/2006/relationships/theme" Target="../theme/theme21.xml"/><Relationship Id="rId4" Type="http://schemas.openxmlformats.org/officeDocument/2006/relationships/slideLayout" Target="../slideLayouts/slideLayout217.xml"/><Relationship Id="rId9" Type="http://schemas.openxmlformats.org/officeDocument/2006/relationships/image" Target="../media/image1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57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79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oleObject" Target="../embeddings/oleObject8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vmlDrawing" Target="../drawings/vmlDrawing9.v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90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029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ea typeface="MS PGothic" pitchFamily="34" charset="-128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030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032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077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ea typeface="MS PGothic" pitchFamily="34" charset="-128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ea typeface="MS PGothic" pitchFamily="34" charset="-128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033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40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41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42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034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044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45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46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47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035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036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055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56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037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058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59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60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61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62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chemeClr val="tx2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048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06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49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06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50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07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51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07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52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07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038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39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080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081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082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4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245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246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24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10249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0250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0252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0298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0253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60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261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62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0254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10264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265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266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0267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68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0255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028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0256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10275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76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0257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10278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79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80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81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282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0269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028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270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028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271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029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272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029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0273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029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0258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259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0300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0301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0302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10303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8F7DF2E4-B751-4CFF-B74C-60A6E15EE9AA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1269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1270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1272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1317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1273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280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1281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282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1274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1284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1285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1286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1287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1275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1276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1295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296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1277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1298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299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300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301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1302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1288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130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1289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130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1290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131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1291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131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1292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131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1278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279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1320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1321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1322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2293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2294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2296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2341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2297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04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2305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06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2298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2308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2309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2310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2311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2299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2300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2319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0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2301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2322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3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4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5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2326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2312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232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2313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233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2314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233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2315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233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2316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234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2302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303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2344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2345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2346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3317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3318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3320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3365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3321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28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3329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30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3322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3332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3333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3334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3335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3323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3324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3343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44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3325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3346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47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48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49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3350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3336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335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3337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335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3338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335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3339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336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3340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336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3326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327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3368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3369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3370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  <p:sldLayoutId id="2147483964" r:id="rId10"/>
    <p:sldLayoutId id="2147483965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4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4341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4342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4344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4389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4345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52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4353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54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4346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4356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4357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4358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4359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4347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4348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4367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68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4349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4370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71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72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73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4374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4360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437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4361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437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4362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438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4363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438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4364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438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4350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4351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4392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4393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4394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5365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5366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5368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5413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5369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76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5377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78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5370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5380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5381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5382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5383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5371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5372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5391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2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5373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5394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5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6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7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5398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5384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540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5385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540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5386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540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5387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540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5388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541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5374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5375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5416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5417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5418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6389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6390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6392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6437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6393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00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6401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02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6394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6404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6405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6406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6407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6395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6396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6415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16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6397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6418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19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20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21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6422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6408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642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6409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642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6410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643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6411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643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6412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643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6398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399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6440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6441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6442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7413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7414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7416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7461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7417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24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7425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26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7418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7428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7429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7430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7431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7419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7420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7439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0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7421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7442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3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4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5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7446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7432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744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7433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745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7434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745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7435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745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7436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746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7422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423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7464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7465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7466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5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18437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8438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8440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8485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8441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48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8449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50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8442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18452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8453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8454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8455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8443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8444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18463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64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8445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18466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67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68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69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8470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8456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847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8457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847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8458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847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8459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848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8460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848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8446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447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8488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8489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8490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9" r:id="rId15" imgW="360" imgH="360" progId="">
                  <p:embed/>
                </p:oleObj>
              </mc:Choice>
              <mc:Fallback>
                <p:oleObj r:id="rId15" imgW="360" imgH="360" progId="">
                  <p:embed/>
                  <p:pic>
                    <p:nvPicPr>
                      <p:cNvPr id="0" name="Picture 607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19461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3" y="238125"/>
            <a:ext cx="11729322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19462" name="McK 3. Unit of measure" hidden="1"/>
          <p:cNvSpPr>
            <a:spLocks noChangeArrowheads="1"/>
          </p:cNvSpPr>
          <p:nvPr/>
        </p:nvSpPr>
        <p:spPr bwMode="auto">
          <a:xfrm>
            <a:off x="336483" y="592168"/>
            <a:ext cx="11729322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19464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19510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19465" name="Group 10" hidden="1"/>
          <p:cNvGrpSpPr>
            <a:grpSpLocks/>
          </p:cNvGrpSpPr>
          <p:nvPr/>
        </p:nvGrpSpPr>
        <p:grpSpPr bwMode="auto">
          <a:xfrm>
            <a:off x="11118545" y="3270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72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9473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74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9466" name="Group 19" hidden="1"/>
          <p:cNvGrpSpPr>
            <a:grpSpLocks/>
          </p:cNvGrpSpPr>
          <p:nvPr/>
        </p:nvGrpSpPr>
        <p:grpSpPr bwMode="auto">
          <a:xfrm>
            <a:off x="10702777" y="327025"/>
            <a:ext cx="1208725" cy="730250"/>
            <a:chOff x="0" y="0"/>
            <a:chExt cx="564" cy="460"/>
          </a:xfrm>
        </p:grpSpPr>
        <p:sp>
          <p:nvSpPr>
            <p:cNvPr id="19476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9477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9478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19479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80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19467" name="Group 26" hidden="1"/>
          <p:cNvGrpSpPr>
            <a:grpSpLocks/>
          </p:cNvGrpSpPr>
          <p:nvPr/>
        </p:nvGrpSpPr>
        <p:grpSpPr bwMode="auto">
          <a:xfrm>
            <a:off x="10874223" y="327025"/>
            <a:ext cx="1193742" cy="212366"/>
            <a:chOff x="0" y="0"/>
            <a:chExt cx="884679" cy="213601"/>
          </a:xfrm>
        </p:grpSpPr>
        <p:sp>
          <p:nvSpPr>
            <p:cNvPr id="10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360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1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9495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19468" name="Group 30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19487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88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19469" name="Group 33" hidden="1"/>
          <p:cNvGrpSpPr>
            <a:grpSpLocks/>
          </p:cNvGrpSpPr>
          <p:nvPr/>
        </p:nvGrpSpPr>
        <p:grpSpPr bwMode="auto">
          <a:xfrm>
            <a:off x="11028535" y="327028"/>
            <a:ext cx="882074" cy="1306513"/>
            <a:chOff x="0" y="0"/>
            <a:chExt cx="654653" cy="1306516"/>
          </a:xfrm>
        </p:grpSpPr>
        <p:sp>
          <p:nvSpPr>
            <p:cNvPr id="19490" name="Legend1"/>
            <p:cNvSpPr>
              <a:spLocks noChangeArrowheads="1"/>
            </p:cNvSpPr>
            <p:nvPr/>
          </p:nvSpPr>
          <p:spPr bwMode="auto">
            <a:xfrm>
              <a:off x="321296" y="12700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91" name="Legend2"/>
            <p:cNvSpPr>
              <a:spLocks noChangeArrowheads="1"/>
            </p:cNvSpPr>
            <p:nvPr/>
          </p:nvSpPr>
          <p:spPr bwMode="auto">
            <a:xfrm>
              <a:off x="321296" y="287339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92" name="Legend3"/>
            <p:cNvSpPr>
              <a:spLocks noChangeArrowheads="1"/>
            </p:cNvSpPr>
            <p:nvPr/>
          </p:nvSpPr>
          <p:spPr bwMode="auto">
            <a:xfrm>
              <a:off x="321296" y="561976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93" name="Legend4"/>
            <p:cNvSpPr>
              <a:spLocks noChangeArrowheads="1"/>
            </p:cNvSpPr>
            <p:nvPr/>
          </p:nvSpPr>
          <p:spPr bwMode="auto">
            <a:xfrm>
              <a:off x="321296" y="833440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9494" name="Legend5"/>
            <p:cNvSpPr>
              <a:spLocks noChangeArrowheads="1"/>
            </p:cNvSpPr>
            <p:nvPr/>
          </p:nvSpPr>
          <p:spPr bwMode="auto">
            <a:xfrm>
              <a:off x="321296" y="1109666"/>
              <a:ext cx="333357" cy="18466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19481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1949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9482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1949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9483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1950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-3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9484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1950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19485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1950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19470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458792"/>
            <a:ext cx="979407" cy="324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9471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19512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9513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19514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19515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96AA0851-C088-42AC-96DB-052EACBB3044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doc id"/>
          <p:cNvSpPr>
            <a:spLocks noChangeArrowheads="1"/>
          </p:cNvSpPr>
          <p:nvPr/>
        </p:nvSpPr>
        <p:spPr bwMode="auto">
          <a:xfrm>
            <a:off x="11131415" y="38108"/>
            <a:ext cx="904399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052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053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05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2056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2057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2059" name="Group 10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2105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2060" name="Group 13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2068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69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2061" name="Group 22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2071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2072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2073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2074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75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2062" name="Group 29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2090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2063" name="Group 33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2082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3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2064" name="Group 36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2085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6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7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8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2089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2076" name="Group 42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209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2077" name="Group 45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209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2078" name="Group 48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209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2079" name="Group 51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210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2080" name="Group 54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210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2065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66" name="Group 58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2107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2108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2109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pic>
        <p:nvPicPr>
          <p:cNvPr id="2067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625615" y="217492"/>
            <a:ext cx="1371600" cy="38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35937927"/>
              </p:ext>
            </p:extLst>
          </p:nvPr>
        </p:nvGraphicFramePr>
        <p:xfrm>
          <a:off x="3" y="0"/>
          <a:ext cx="2186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8678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142" y="2520523"/>
            <a:ext cx="5926187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7195" y="237932"/>
            <a:ext cx="1173003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7195" y="6224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7198" y="592769"/>
            <a:ext cx="1173003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smtClean="0">
                <a:solidFill>
                  <a:srgbClr val="808080"/>
                </a:solidFill>
                <a:latin typeface="Calibri"/>
              </a:rPr>
              <a:t>Unit of measure</a:t>
            </a:r>
            <a:endParaRPr lang="en-US" sz="1600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3133142" y="1947132"/>
            <a:ext cx="5926187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US" smtClean="0">
                  <a:solidFill>
                    <a:srgbClr val="808080"/>
                  </a:solidFill>
                  <a:latin typeface="Calibri"/>
                </a:rPr>
                <a:t>Unit of measure</a:t>
              </a:r>
              <a:endParaRPr lang="en-US" dirty="0">
                <a:solidFill>
                  <a:srgbClr val="808080"/>
                </a:solidFill>
                <a:latin typeface="Calibri"/>
              </a:endParaRPr>
            </a:p>
          </p:txBody>
        </p:sp>
      </p:grpSp>
      <p:grpSp>
        <p:nvGrpSpPr>
          <p:cNvPr id="4" name="LegendBoxes" hidden="1"/>
          <p:cNvGrpSpPr>
            <a:grpSpLocks/>
          </p:cNvGrpSpPr>
          <p:nvPr/>
        </p:nvGrpSpPr>
        <p:grpSpPr bwMode="auto">
          <a:xfrm>
            <a:off x="11117933" y="326470"/>
            <a:ext cx="792958" cy="996952"/>
            <a:chOff x="4936" y="176"/>
            <a:chExt cx="370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5" name="LegendLines" hidden="1"/>
          <p:cNvGrpSpPr>
            <a:grpSpLocks/>
          </p:cNvGrpSpPr>
          <p:nvPr/>
        </p:nvGrpSpPr>
        <p:grpSpPr bwMode="auto">
          <a:xfrm>
            <a:off x="10702085" y="326470"/>
            <a:ext cx="1208725" cy="730252"/>
            <a:chOff x="4750" y="176"/>
            <a:chExt cx="564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1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6" name="McKSticker" hidden="1"/>
          <p:cNvGrpSpPr/>
          <p:nvPr/>
        </p:nvGrpSpPr>
        <p:grpSpPr bwMode="auto">
          <a:xfrm>
            <a:off x="11181749" y="326465"/>
            <a:ext cx="886253" cy="213160"/>
            <a:chOff x="8084887" y="285750"/>
            <a:chExt cx="656484" cy="213160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8085475" y="285750"/>
              <a:ext cx="655307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 rot="16200000" flipH="1">
              <a:off x="7979292" y="392139"/>
              <a:ext cx="212366" cy="117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 rot="16200000" flipH="1">
              <a:off x="8412924" y="170462"/>
              <a:ext cx="1588" cy="655307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" name="McK Slide Elements" hidden="1"/>
          <p:cNvGrpSpPr/>
          <p:nvPr/>
        </p:nvGrpSpPr>
        <p:grpSpPr bwMode="auto">
          <a:xfrm>
            <a:off x="337195" y="6358219"/>
            <a:ext cx="9998446" cy="377509"/>
            <a:chOff x="249774" y="6358202"/>
            <a:chExt cx="7406256" cy="377509"/>
          </a:xfrm>
        </p:grpSpPr>
        <p:sp>
          <p:nvSpPr>
            <p:cNvPr id="64" name="McK 4. Footnote"/>
            <p:cNvSpPr txBox="1">
              <a:spLocks noChangeArrowheads="1"/>
            </p:cNvSpPr>
            <p:nvPr/>
          </p:nvSpPr>
          <p:spPr bwMode="auto">
            <a:xfrm>
              <a:off x="249774" y="6358202"/>
              <a:ext cx="740625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3" indent="-93663"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/>
                </a:rPr>
                <a:t>1 Footnote</a:t>
              </a:r>
              <a:endParaRPr lang="en-US" sz="10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5" name="McK 5. Source"/>
            <p:cNvSpPr>
              <a:spLocks noChangeArrowheads="1"/>
            </p:cNvSpPr>
            <p:nvPr/>
          </p:nvSpPr>
          <p:spPr bwMode="auto">
            <a:xfrm>
              <a:off x="249774" y="6581823"/>
              <a:ext cx="740625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17513" indent="-417513" defTabSz="895350">
                <a:tabLst>
                  <a:tab pos="428625" algn="l"/>
                </a:tabLst>
              </a:pPr>
              <a:r>
                <a:rPr lang="en-US" sz="1000" smtClean="0">
                  <a:solidFill>
                    <a:srgbClr val="000000"/>
                  </a:solidFill>
                  <a:latin typeface="Calibri"/>
                </a:rPr>
                <a:t>Source: Source</a:t>
              </a:r>
              <a:endParaRPr lang="en-US" sz="10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8" name="LegendMoons" hidden="1"/>
          <p:cNvGrpSpPr/>
          <p:nvPr/>
        </p:nvGrpSpPr>
        <p:grpSpPr bwMode="auto">
          <a:xfrm>
            <a:off x="11027980" y="326467"/>
            <a:ext cx="882074" cy="1306515"/>
            <a:chOff x="5428012" y="273840"/>
            <a:chExt cx="653388" cy="1306516"/>
          </a:xfrm>
        </p:grpSpPr>
        <p:sp>
          <p:nvSpPr>
            <p:cNvPr id="61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1" name="Legend5"/>
            <p:cNvSpPr>
              <a:spLocks noChangeArrowheads="1"/>
            </p:cNvSpPr>
            <p:nvPr/>
          </p:nvSpPr>
          <p:spPr bwMode="auto">
            <a:xfrm>
              <a:off x="5748687" y="1383506"/>
              <a:ext cx="3327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E71921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9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8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3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4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5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pic>
        <p:nvPicPr>
          <p:cNvPr id="12386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1284" y="6510171"/>
            <a:ext cx="979155" cy="273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4"/>
          <p:cNvGrpSpPr/>
          <p:nvPr/>
        </p:nvGrpSpPr>
        <p:grpSpPr bwMode="auto">
          <a:xfrm>
            <a:off x="1" y="0"/>
            <a:ext cx="192883" cy="6858000"/>
            <a:chOff x="0" y="0"/>
            <a:chExt cx="142876" cy="6858000"/>
          </a:xfrm>
        </p:grpSpPr>
        <p:sp>
          <p:nvSpPr>
            <p:cNvPr id="77" name="Rectangle 76"/>
            <p:cNvSpPr>
              <a:spLocks/>
            </p:cNvSpPr>
            <p:nvPr userDrawn="1"/>
          </p:nvSpPr>
          <p:spPr bwMode="auto">
            <a:xfrm>
              <a:off x="0" y="0"/>
              <a:ext cx="142875" cy="2283853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2" name="Rectangle 91"/>
            <p:cNvSpPr>
              <a:spLocks/>
            </p:cNvSpPr>
            <p:nvPr userDrawn="1"/>
          </p:nvSpPr>
          <p:spPr bwMode="auto">
            <a:xfrm>
              <a:off x="0" y="2285758"/>
              <a:ext cx="142875" cy="4572242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93" name="Straight Connector 92"/>
            <p:cNvCxnSpPr>
              <a:cxnSpLocks/>
            </p:cNvCxnSpPr>
            <p:nvPr userDrawn="1"/>
          </p:nvCxnSpPr>
          <p:spPr bwMode="auto">
            <a:xfrm flipV="1">
              <a:off x="1" y="2285756"/>
              <a:ext cx="142875" cy="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10784976" y="658182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39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7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/>
        </p:nvGraphicFramePr>
        <p:xfrm>
          <a:off x="2009" y="1594"/>
          <a:ext cx="197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9" y="1594"/>
                        <a:ext cx="197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Simple"/>
          <p:cNvSpPr/>
          <p:nvPr/>
        </p:nvSpPr>
        <p:spPr>
          <a:xfrm>
            <a:off x="569745" y="6699600"/>
            <a:ext cx="803022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602578"/>
            <a:ext cx="12344400" cy="0"/>
          </a:xfrm>
          <a:prstGeom prst="line">
            <a:avLst/>
          </a:prstGeom>
          <a:noFill/>
          <a:ln w="28575" cmpd="sng">
            <a:solidFill>
              <a:srgbClr val="C41300"/>
            </a:solidFill>
            <a:round/>
          </a:ln>
          <a:effectLst>
            <a:outerShdw dist="25400" dir="5400000" algn="ctr" rotWithShape="0">
              <a:srgbClr val="FF0000"/>
            </a:outerShdw>
          </a:effec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sz="1800">
              <a:solidFill>
                <a:prstClr val="black"/>
              </a:solidFill>
              <a:latin typeface="Arial"/>
              <a:ea typeface="+mn-ea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5388" y="6669447"/>
            <a:ext cx="2314736" cy="169277"/>
          </a:xfrm>
          <a:prstGeom prst="rect">
            <a:avLst/>
          </a:prstGeom>
          <a:noFill/>
          <a:ln w="12700" algn="ctr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100" b="1" smtClean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 – for internal use only</a:t>
            </a:r>
            <a:endParaRPr lang="en-US" sz="1100" b="1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3"/>
          <p:cNvSpPr txBox="1"/>
          <p:nvPr/>
        </p:nvSpPr>
        <p:spPr>
          <a:xfrm>
            <a:off x="11971685" y="6569109"/>
            <a:ext cx="372739" cy="288925"/>
          </a:xfrm>
          <a:prstGeom prst="rect">
            <a:avLst/>
          </a:prstGeom>
        </p:spPr>
        <p:txBody>
          <a:bodyPr lIns="45720" tIns="18288" rIns="45720" bIns="1828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fld id="{92EA4FBF-0D63-4A42-9779-2E9D0749F1E8}" type="slidenum">
              <a:rPr lang="en-US" sz="1000" b="1" smtClean="0">
                <a:solidFill>
                  <a:prstClr val="black"/>
                </a:solidFill>
                <a:latin typeface="Arial"/>
                <a:ea typeface="+mn-ea"/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t>‹#›</a:t>
            </a:fld>
            <a:endParaRPr lang="en-US" sz="1000" b="1" dirty="0">
              <a:solidFill>
                <a:prstClr val="black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64482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5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5"/>
        </a:spcBef>
        <a:buClr>
          <a:srgbClr val="7600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5"/>
        </a:spcBef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680" indent="-233045" algn="l" defTabSz="914400" rtl="0" eaLnBrk="1" latinLnBrk="0" hangingPunct="1">
        <a:spcBef>
          <a:spcPts val="385"/>
        </a:spcBef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305" indent="-230505" algn="l" defTabSz="914400" rtl="0" eaLnBrk="1" latinLnBrk="0" hangingPunct="1">
        <a:spcBef>
          <a:spcPts val="385"/>
        </a:spcBef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6" name="Picture 163" descr="http://www.certipedia.com/quality_mark_images/000/025/192/original/Tjiwi_kimia_logo.jpg?1372229889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460618" y="238126"/>
            <a:ext cx="1630917" cy="36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3078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3079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3081" name="Group 8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3126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3082" name="Group 11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089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3090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091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3083" name="Group 20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3093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3094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3095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3096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3084" name="Group 27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3085" name="Group 31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3104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05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3086" name="Group 34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3107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08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09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10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3111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3097" name="Group 40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311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3098" name="Group 43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311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3099" name="Group 46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311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3100" name="Group 49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312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3101" name="Group 52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312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3087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088" name="Group 56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3129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3130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3131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4101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4102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4104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4149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4105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12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4113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14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4106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4116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4117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4118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4119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4107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4108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4127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28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4109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4130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31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32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33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4134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4120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413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4121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413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4122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414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4123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414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4124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414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4110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111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4152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4153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4154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79"/>
            <a:ext cx="5925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Text</a:t>
            </a:r>
          </a:p>
        </p:txBody>
      </p:sp>
      <p:sp>
        <p:nvSpPr>
          <p:cNvPr id="5125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5126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5128" name="Group 7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5173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3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5129" name="Group 10" hidden="1"/>
          <p:cNvGrpSpPr>
            <a:grpSpLocks/>
          </p:cNvGrpSpPr>
          <p:nvPr/>
        </p:nvGrpSpPr>
        <p:grpSpPr bwMode="auto">
          <a:xfrm>
            <a:off x="11118545" y="657225"/>
            <a:ext cx="792958" cy="996950"/>
            <a:chOff x="0" y="0"/>
            <a:chExt cx="370" cy="628"/>
          </a:xfrm>
        </p:grpSpPr>
        <p:sp>
          <p:nvSpPr>
            <p:cNvPr id="4" name="Legend1"/>
            <p:cNvSpPr>
              <a:spLocks noChangeArrowheads="1"/>
            </p:cNvSpPr>
            <p:nvPr/>
          </p:nvSpPr>
          <p:spPr bwMode="auto">
            <a:xfrm>
              <a:off x="160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36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5137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38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5130" name="Group 19" hidden="1"/>
          <p:cNvGrpSpPr>
            <a:grpSpLocks/>
          </p:cNvGrpSpPr>
          <p:nvPr/>
        </p:nvGrpSpPr>
        <p:grpSpPr bwMode="auto">
          <a:xfrm>
            <a:off x="10702777" y="657225"/>
            <a:ext cx="1208725" cy="730250"/>
            <a:chOff x="0" y="0"/>
            <a:chExt cx="564" cy="460"/>
          </a:xfrm>
        </p:grpSpPr>
        <p:sp>
          <p:nvSpPr>
            <p:cNvPr id="5140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5141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5142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5143" name="Legend1"/>
            <p:cNvSpPr>
              <a:spLocks noChangeArrowheads="1"/>
            </p:cNvSpPr>
            <p:nvPr/>
          </p:nvSpPr>
          <p:spPr bwMode="auto">
            <a:xfrm>
              <a:off x="354" y="0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10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5131" name="Group 26" hidden="1"/>
          <p:cNvGrpSpPr>
            <a:grpSpLocks/>
          </p:cNvGrpSpPr>
          <p:nvPr/>
        </p:nvGrpSpPr>
        <p:grpSpPr bwMode="auto">
          <a:xfrm>
            <a:off x="10874223" y="657226"/>
            <a:ext cx="1193742" cy="212726"/>
            <a:chOff x="0" y="0"/>
            <a:chExt cx="884679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29056" y="0"/>
              <a:ext cx="655623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13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5132" name="Group 30" hidden="1"/>
          <p:cNvGrpSpPr>
            <a:grpSpLocks/>
          </p:cNvGrpSpPr>
          <p:nvPr/>
        </p:nvGrpSpPr>
        <p:grpSpPr bwMode="auto">
          <a:xfrm>
            <a:off x="336486" y="6358064"/>
            <a:ext cx="9997677" cy="377675"/>
            <a:chOff x="0" y="96"/>
            <a:chExt cx="7519134" cy="377362"/>
          </a:xfrm>
        </p:grpSpPr>
        <p:sp>
          <p:nvSpPr>
            <p:cNvPr id="5151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519134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2" name="McK 5. Source"/>
            <p:cNvSpPr>
              <a:spLocks noChangeArrowheads="1"/>
            </p:cNvSpPr>
            <p:nvPr/>
          </p:nvSpPr>
          <p:spPr bwMode="auto">
            <a:xfrm>
              <a:off x="0" y="223698"/>
              <a:ext cx="7374070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5133" name="Group 33" hidden="1"/>
          <p:cNvGrpSpPr>
            <a:grpSpLocks/>
          </p:cNvGrpSpPr>
          <p:nvPr/>
        </p:nvGrpSpPr>
        <p:grpSpPr bwMode="auto">
          <a:xfrm>
            <a:off x="11028535" y="657229"/>
            <a:ext cx="882074" cy="1308099"/>
            <a:chOff x="0" y="0"/>
            <a:chExt cx="654653" cy="1306516"/>
          </a:xfrm>
        </p:grpSpPr>
        <p:sp>
          <p:nvSpPr>
            <p:cNvPr id="5154" name="Legend1"/>
            <p:cNvSpPr>
              <a:spLocks noChangeArrowheads="1"/>
            </p:cNvSpPr>
            <p:nvPr/>
          </p:nvSpPr>
          <p:spPr bwMode="auto">
            <a:xfrm>
              <a:off x="321296" y="12685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5" name="Legend2"/>
            <p:cNvSpPr>
              <a:spLocks noChangeArrowheads="1"/>
            </p:cNvSpPr>
            <p:nvPr/>
          </p:nvSpPr>
          <p:spPr bwMode="auto">
            <a:xfrm>
              <a:off x="321296" y="286990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6" name="Legend3"/>
            <p:cNvSpPr>
              <a:spLocks noChangeArrowheads="1"/>
            </p:cNvSpPr>
            <p:nvPr/>
          </p:nvSpPr>
          <p:spPr bwMode="auto">
            <a:xfrm>
              <a:off x="321296" y="56129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7" name="Legend4"/>
            <p:cNvSpPr>
              <a:spLocks noChangeArrowheads="1"/>
            </p:cNvSpPr>
            <p:nvPr/>
          </p:nvSpPr>
          <p:spPr bwMode="auto">
            <a:xfrm>
              <a:off x="321296" y="83401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5158" name="Legend5"/>
            <p:cNvSpPr>
              <a:spLocks noChangeArrowheads="1"/>
            </p:cNvSpPr>
            <p:nvPr/>
          </p:nvSpPr>
          <p:spPr bwMode="auto">
            <a:xfrm>
              <a:off x="321296" y="1109904"/>
              <a:ext cx="333357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5144" name="Group 39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516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5145" name="Group 42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516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5146" name="Group 45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516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5147" name="Group 48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516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5148" name="Group 51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517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5134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35" name="Group 55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5176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5177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5178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8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149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150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15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6153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6154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6156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6202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6157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64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165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66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6158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6168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169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170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6171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72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6159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6187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6160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6179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0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6161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6182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3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4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5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186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6173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618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6174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619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6175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619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6176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6197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6177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620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6162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163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6204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6205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6206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6207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2BCECEBE-F31D-4EC8-BF7E-BB81C08E0149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2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173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174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17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7177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7178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7180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7226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7181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188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189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190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7182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7192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193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194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195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196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7183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7211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7184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7203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04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7185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7206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07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08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09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7210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7197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721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7198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721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7199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721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7200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7221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7201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7224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7186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187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7228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7229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7230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7231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CC4CCEEE-6CFF-46D0-BBEC-6349A70E6DC3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6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197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198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20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8201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8202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8204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8250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8205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12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213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14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8206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8216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217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218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8219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20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8207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8235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8208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8227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28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8209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8230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31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32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33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234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8221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823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8222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823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8223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824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8224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8245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8225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8248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8210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211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8252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8253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8254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8255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7B8050A7-1D0A-4002-A084-69D0D048F9FA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1"/>
          <p:cNvGraphicFramePr>
            <a:graphicFrameLocks/>
          </p:cNvGraphicFramePr>
          <p:nvPr/>
        </p:nvGraphicFramePr>
        <p:xfrm>
          <a:off x="13" y="0"/>
          <a:ext cx="218599" cy="16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" r:id="rId14" imgW="360" imgH="360" progId="">
                  <p:embed/>
                </p:oleObj>
              </mc:Choice>
              <mc:Fallback>
                <p:oleObj r:id="rId14" imgW="360" imgH="360" progId="">
                  <p:embed/>
                  <p:pic>
                    <p:nvPicPr>
                      <p:cNvPr id="0" name="Picture 605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" y="0"/>
                        <a:ext cx="218599" cy="1619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20" name="Picture 65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0426320" y="238132"/>
            <a:ext cx="1665207" cy="333376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</p:pic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11184970" y="38108"/>
            <a:ext cx="906541" cy="123826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/>
          <a:lstStyle/>
          <a:p>
            <a:pPr algn="r">
              <a:buFont typeface="Arial" pitchFamily="34" charset="0"/>
              <a:buNone/>
              <a:defRPr/>
            </a:pPr>
            <a:r>
              <a:rPr lang="en-US" sz="8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DOC ID</a:t>
            </a:r>
            <a:endParaRPr lang="en-US" sz="800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221" name="Working Draft"/>
          <p:cNvSpPr>
            <a:spLocks noChangeArrowheads="1"/>
          </p:cNvSpPr>
          <p:nvPr/>
        </p:nvSpPr>
        <p:spPr bwMode="auto">
          <a:xfrm rot="5400000">
            <a:off x="11359152" y="2099357"/>
            <a:ext cx="1803379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Last Modified 4/29/2016 11:49 A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222" name="Printed"/>
          <p:cNvSpPr>
            <a:spLocks noChangeArrowheads="1"/>
          </p:cNvSpPr>
          <p:nvPr/>
        </p:nvSpPr>
        <p:spPr bwMode="auto">
          <a:xfrm rot="5400000">
            <a:off x="11479355" y="4315508"/>
            <a:ext cx="1562928" cy="92333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buFont typeface="Arial" pitchFamily="34" charset="0"/>
              <a:buNone/>
              <a:defRPr/>
            </a:pPr>
            <a:r>
              <a:rPr lang="en-US" sz="600" smtClean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t>Printed 4/28/2016 3:50 PM SE Asia Standard Time</a:t>
            </a:r>
            <a:endParaRPr lang="en-US" dirty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22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3250" y="2520951"/>
            <a:ext cx="592574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ext styles</a:t>
            </a:r>
          </a:p>
          <a:p>
            <a:pPr lvl="1"/>
            <a:r>
              <a:rPr lang="en-US" altLang="zh-CN">
                <a:sym typeface="Arial Unicode MS" pitchFamily="34" charset="-128"/>
              </a:rPr>
              <a:t>Second level</a:t>
            </a:r>
          </a:p>
          <a:p>
            <a:pPr lvl="2"/>
            <a:r>
              <a:rPr lang="en-US" altLang="zh-CN">
                <a:sym typeface="Arial Unicode MS" pitchFamily="34" charset="-128"/>
              </a:rPr>
              <a:t>Third level</a:t>
            </a:r>
          </a:p>
          <a:p>
            <a:pPr lvl="3"/>
            <a:r>
              <a:rPr lang="en-US" altLang="zh-CN">
                <a:sym typeface="Arial Unicode MS" pitchFamily="34" charset="-128"/>
              </a:rPr>
              <a:t>Fourth level</a:t>
            </a:r>
          </a:p>
          <a:p>
            <a:pPr lvl="4"/>
            <a:r>
              <a:rPr lang="en-US" altLang="zh-CN">
                <a:sym typeface="Arial Unicode MS" pitchFamily="34" charset="-128"/>
              </a:rPr>
              <a:t>Fifth level</a:t>
            </a:r>
          </a:p>
        </p:txBody>
      </p:sp>
      <p:sp>
        <p:nvSpPr>
          <p:cNvPr id="9225" name="Title Placeholder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6486" y="238125"/>
            <a:ext cx="999767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>
                <a:sym typeface="Arial Unicode MS" pitchFamily="34" charset="-128"/>
              </a:rPr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336471" y="6350"/>
            <a:ext cx="663900" cy="215444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z="140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TRACKER</a:t>
            </a:r>
            <a:endParaRPr lang="en-US" altLang="en-US">
              <a:latin typeface="Arial" pitchFamily="34" charset="0"/>
            </a:endParaRPr>
          </a:p>
        </p:txBody>
      </p:sp>
      <p:sp>
        <p:nvSpPr>
          <p:cNvPr id="9226" name="McK 3. Unit of measure" hidden="1"/>
          <p:cNvSpPr>
            <a:spLocks noChangeArrowheads="1"/>
          </p:cNvSpPr>
          <p:nvPr/>
        </p:nvSpPr>
        <p:spPr bwMode="auto">
          <a:xfrm>
            <a:off x="336486" y="592168"/>
            <a:ext cx="9997677" cy="246221"/>
          </a:xfrm>
          <a:prstGeom prst="rect">
            <a:avLst/>
          </a:prstGeom>
          <a:noFill/>
          <a:ln w="9525" cmpd="sng">
            <a:noFill/>
            <a:bevel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smtClean="0">
                <a:solidFill>
                  <a:srgbClr val="808080"/>
                </a:solidFill>
                <a:latin typeface="Calibri" pitchFamily="34" charset="0"/>
                <a:sym typeface="Calibri" pitchFamily="34" charset="0"/>
              </a:rPr>
              <a:t>Unit of measure</a:t>
            </a:r>
            <a:endParaRPr lang="en-US" altLang="en-US" dirty="0">
              <a:latin typeface="Arial" pitchFamily="34" charset="0"/>
            </a:endParaRPr>
          </a:p>
        </p:txBody>
      </p:sp>
      <p:grpSp>
        <p:nvGrpSpPr>
          <p:cNvPr id="9228" name="Group 11" hidden="1"/>
          <p:cNvGrpSpPr>
            <a:grpSpLocks/>
          </p:cNvGrpSpPr>
          <p:nvPr/>
        </p:nvGrpSpPr>
        <p:grpSpPr bwMode="auto">
          <a:xfrm>
            <a:off x="3133250" y="1884946"/>
            <a:ext cx="5925741" cy="574129"/>
            <a:chOff x="0" y="-34"/>
            <a:chExt cx="2686" cy="355"/>
          </a:xfrm>
        </p:grpSpPr>
        <p:cxnSp>
          <p:nvCxnSpPr>
            <p:cNvPr id="9274" name="AutoShape 249"/>
            <p:cNvCxnSpPr>
              <a:cxnSpLocks noChangeShapeType="1"/>
            </p:cNvCxnSpPr>
            <p:nvPr/>
          </p:nvCxnSpPr>
          <p:spPr bwMode="auto">
            <a:xfrm>
              <a:off x="0" y="320"/>
              <a:ext cx="2686" cy="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sp>
          <p:nvSpPr>
            <p:cNvPr id="4" name="AutoShape 250"/>
            <p:cNvSpPr>
              <a:spLocks noChangeArrowheads="1"/>
            </p:cNvSpPr>
            <p:nvPr/>
          </p:nvSpPr>
          <p:spPr bwMode="auto">
            <a:xfrm>
              <a:off x="0" y="-34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buFont typeface="Arial" pitchFamily="34" charset="0"/>
                <a:buNone/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Title</a:t>
              </a:r>
              <a:endParaRPr lang="en-US" altLang="en-US" sz="1800" b="1" dirty="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  <a:p>
              <a:pPr>
                <a:buFont typeface="Arial" pitchFamily="34" charset="0"/>
                <a:buNone/>
                <a:defRPr/>
              </a:pPr>
              <a:r>
                <a:rPr lang="en-US" sz="1800" smtClean="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Unit of measure</a:t>
              </a:r>
              <a:endParaRPr lang="en-US" altLang="en-US" dirty="0">
                <a:latin typeface="Arial" pitchFamily="34" charset="0"/>
              </a:endParaRPr>
            </a:p>
          </p:txBody>
        </p:sp>
      </p:grpSp>
      <p:grpSp>
        <p:nvGrpSpPr>
          <p:cNvPr id="9229" name="Group 14" hidden="1"/>
          <p:cNvGrpSpPr>
            <a:grpSpLocks/>
          </p:cNvGrpSpPr>
          <p:nvPr/>
        </p:nvGrpSpPr>
        <p:grpSpPr bwMode="auto">
          <a:xfrm>
            <a:off x="11139983" y="657225"/>
            <a:ext cx="792599" cy="996950"/>
            <a:chOff x="0" y="0"/>
            <a:chExt cx="369" cy="628"/>
          </a:xfrm>
        </p:grpSpPr>
        <p:sp>
          <p:nvSpPr>
            <p:cNvPr id="5" name="Legend1"/>
            <p:cNvSpPr>
              <a:spLocks noChangeArrowheads="1"/>
            </p:cNvSpPr>
            <p:nvPr/>
          </p:nvSpPr>
          <p:spPr bwMode="auto">
            <a:xfrm>
              <a:off x="160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6" name="LegendRectangle1"/>
            <p:cNvSpPr>
              <a:spLocks noChangeArrowheads="1"/>
            </p:cNvSpPr>
            <p:nvPr/>
          </p:nvSpPr>
          <p:spPr bwMode="auto">
            <a:xfrm>
              <a:off x="0" y="7"/>
              <a:ext cx="104" cy="101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7" name="Legend2"/>
            <p:cNvSpPr>
              <a:spLocks noChangeArrowheads="1"/>
            </p:cNvSpPr>
            <p:nvPr/>
          </p:nvSpPr>
          <p:spPr bwMode="auto">
            <a:xfrm>
              <a:off x="160" y="17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8" name="LegendRectangle2"/>
            <p:cNvSpPr>
              <a:spLocks noChangeArrowheads="1"/>
            </p:cNvSpPr>
            <p:nvPr/>
          </p:nvSpPr>
          <p:spPr bwMode="auto">
            <a:xfrm>
              <a:off x="0" y="177"/>
              <a:ext cx="104" cy="101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" name="Legend3"/>
            <p:cNvSpPr>
              <a:spLocks noChangeArrowheads="1"/>
            </p:cNvSpPr>
            <p:nvPr/>
          </p:nvSpPr>
          <p:spPr bwMode="auto">
            <a:xfrm>
              <a:off x="160" y="341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36" name="LegendRectangle3"/>
            <p:cNvSpPr>
              <a:spLocks noChangeArrowheads="1"/>
            </p:cNvSpPr>
            <p:nvPr/>
          </p:nvSpPr>
          <p:spPr bwMode="auto">
            <a:xfrm>
              <a:off x="0" y="348"/>
              <a:ext cx="104" cy="101"/>
            </a:xfrm>
            <a:prstGeom prst="rect">
              <a:avLst/>
            </a:prstGeom>
            <a:solidFill>
              <a:schemeClr val="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237" name="Legend4"/>
            <p:cNvSpPr>
              <a:spLocks noChangeArrowheads="1"/>
            </p:cNvSpPr>
            <p:nvPr/>
          </p:nvSpPr>
          <p:spPr bwMode="auto">
            <a:xfrm>
              <a:off x="160" y="512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38" name="LegendRectangle4"/>
            <p:cNvSpPr>
              <a:spLocks noChangeArrowheads="1"/>
            </p:cNvSpPr>
            <p:nvPr/>
          </p:nvSpPr>
          <p:spPr bwMode="auto">
            <a:xfrm>
              <a:off x="0" y="519"/>
              <a:ext cx="104" cy="101"/>
            </a:xfrm>
            <a:prstGeom prst="rect">
              <a:avLst/>
            </a:prstGeom>
            <a:solidFill>
              <a:schemeClr val="folHlink"/>
            </a:solidFill>
            <a:ln w="9525" cmpd="sng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9230" name="Group 23" hidden="1"/>
          <p:cNvGrpSpPr>
            <a:grpSpLocks/>
          </p:cNvGrpSpPr>
          <p:nvPr/>
        </p:nvGrpSpPr>
        <p:grpSpPr bwMode="auto">
          <a:xfrm>
            <a:off x="10724203" y="657225"/>
            <a:ext cx="1208480" cy="730250"/>
            <a:chOff x="0" y="0"/>
            <a:chExt cx="563" cy="460"/>
          </a:xfrm>
        </p:grpSpPr>
        <p:sp>
          <p:nvSpPr>
            <p:cNvPr id="9240" name="LineLegend1"/>
            <p:cNvSpPr>
              <a:spLocks noChangeShapeType="1"/>
            </p:cNvSpPr>
            <p:nvPr/>
          </p:nvSpPr>
          <p:spPr bwMode="auto">
            <a:xfrm>
              <a:off x="0" y="57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241" name="LineLegend2"/>
            <p:cNvSpPr>
              <a:spLocks noChangeShapeType="1"/>
            </p:cNvSpPr>
            <p:nvPr/>
          </p:nvSpPr>
          <p:spPr bwMode="auto">
            <a:xfrm>
              <a:off x="0" y="226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dash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242" name="LineLegend3"/>
            <p:cNvSpPr>
              <a:spLocks noChangeShapeType="1"/>
            </p:cNvSpPr>
            <p:nvPr/>
          </p:nvSpPr>
          <p:spPr bwMode="auto">
            <a:xfrm>
              <a:off x="0" y="401"/>
              <a:ext cx="288" cy="1"/>
            </a:xfrm>
            <a:prstGeom prst="line">
              <a:avLst/>
            </a:prstGeom>
            <a:noFill/>
            <a:ln w="28575" cmpd="sng">
              <a:solidFill>
                <a:srgbClr val="E71921"/>
              </a:solidFill>
              <a:prstDash val="sysDot"/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 sz="12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  <p:sp>
          <p:nvSpPr>
            <p:cNvPr id="9243" name="Legend1"/>
            <p:cNvSpPr>
              <a:spLocks noChangeArrowheads="1"/>
            </p:cNvSpPr>
            <p:nvPr/>
          </p:nvSpPr>
          <p:spPr bwMode="auto">
            <a:xfrm>
              <a:off x="354" y="0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44" name="Legend2"/>
            <p:cNvSpPr>
              <a:spLocks noChangeArrowheads="1"/>
            </p:cNvSpPr>
            <p:nvPr/>
          </p:nvSpPr>
          <p:spPr bwMode="auto">
            <a:xfrm>
              <a:off x="354" y="168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10" name="Legend3"/>
            <p:cNvSpPr>
              <a:spLocks noChangeArrowheads="1"/>
            </p:cNvSpPr>
            <p:nvPr/>
          </p:nvSpPr>
          <p:spPr bwMode="auto">
            <a:xfrm>
              <a:off x="354" y="344"/>
              <a:ext cx="209" cy="116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</p:grpSp>
      <p:grpSp>
        <p:nvGrpSpPr>
          <p:cNvPr id="9231" name="Group 30" hidden="1"/>
          <p:cNvGrpSpPr>
            <a:grpSpLocks/>
          </p:cNvGrpSpPr>
          <p:nvPr/>
        </p:nvGrpSpPr>
        <p:grpSpPr bwMode="auto">
          <a:xfrm>
            <a:off x="10895654" y="657226"/>
            <a:ext cx="1195880" cy="212726"/>
            <a:chOff x="0" y="0"/>
            <a:chExt cx="884678" cy="212367"/>
          </a:xfrm>
        </p:grpSpPr>
        <p:sp>
          <p:nvSpPr>
            <p:cNvPr id="11" name="StickerRectangle"/>
            <p:cNvSpPr>
              <a:spLocks noChangeArrowheads="1"/>
            </p:cNvSpPr>
            <p:nvPr/>
          </p:nvSpPr>
          <p:spPr bwMode="auto">
            <a:xfrm>
              <a:off x="230228" y="0"/>
              <a:ext cx="65445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27432" tIns="0" rIns="0" bIns="27432">
              <a:spAutoFit/>
            </a:bodyPr>
            <a:lstStyle/>
            <a:p>
              <a:pPr algn="r"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808080"/>
                  </a:solidFill>
                  <a:latin typeface="Calibri" pitchFamily="34" charset="0"/>
                  <a:sym typeface="Calibri" pitchFamily="34" charset="0"/>
                </a:rPr>
                <a:t>PRELIMINARY</a:t>
              </a:r>
              <a:endParaRPr lang="en-US" altLang="en-US">
                <a:latin typeface="Arial" pitchFamily="34" charset="0"/>
              </a:endParaRPr>
            </a:p>
          </p:txBody>
        </p:sp>
        <p:cxnSp>
          <p:nvCxnSpPr>
            <p:cNvPr id="12" name="AutoShape 31"/>
            <p:cNvCxnSpPr>
              <a:cxnSpLocks noChangeShapeType="1"/>
            </p:cNvCxnSpPr>
            <p:nvPr/>
          </p:nvCxnSpPr>
          <p:spPr bwMode="auto">
            <a:xfrm>
              <a:off x="0" y="0"/>
              <a:ext cx="1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bevel/>
              <a:headEnd/>
              <a:tailEnd/>
            </a:ln>
          </p:spPr>
        </p:cxnSp>
        <p:cxnSp>
          <p:nvCxnSpPr>
            <p:cNvPr id="9259" name="AutoShape 32"/>
            <p:cNvCxnSpPr>
              <a:cxnSpLocks noChangeShapeType="1"/>
            </p:cNvCxnSpPr>
            <p:nvPr/>
          </p:nvCxnSpPr>
          <p:spPr bwMode="auto">
            <a:xfrm>
              <a:off x="0" y="212366"/>
              <a:ext cx="884665" cy="1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bevel/>
              <a:headEnd/>
              <a:tailEnd/>
            </a:ln>
          </p:spPr>
        </p:cxnSp>
      </p:grpSp>
      <p:grpSp>
        <p:nvGrpSpPr>
          <p:cNvPr id="9232" name="Group 34" hidden="1"/>
          <p:cNvGrpSpPr>
            <a:grpSpLocks/>
          </p:cNvGrpSpPr>
          <p:nvPr/>
        </p:nvGrpSpPr>
        <p:grpSpPr bwMode="auto">
          <a:xfrm>
            <a:off x="336486" y="6358045"/>
            <a:ext cx="9997677" cy="377728"/>
            <a:chOff x="0" y="96"/>
            <a:chExt cx="7406256" cy="377413"/>
          </a:xfrm>
        </p:grpSpPr>
        <p:sp>
          <p:nvSpPr>
            <p:cNvPr id="9251" name="McK 4. Footnote"/>
            <p:cNvSpPr>
              <a:spLocks noChangeArrowheads="1"/>
            </p:cNvSpPr>
            <p:nvPr/>
          </p:nvSpPr>
          <p:spPr bwMode="auto">
            <a:xfrm>
              <a:off x="0" y="96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4775" indent="-104775">
                <a:buFont typeface="Arial" pitchFamily="34" charset="0"/>
                <a:buNone/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1 Footnote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2" name="McK 5. Source"/>
            <p:cNvSpPr>
              <a:spLocks noChangeArrowheads="1"/>
            </p:cNvSpPr>
            <p:nvPr/>
          </p:nvSpPr>
          <p:spPr bwMode="auto">
            <a:xfrm>
              <a:off x="0" y="223749"/>
              <a:ext cx="7406256" cy="153760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417513" indent="-417513">
                <a:buFont typeface="Arial" pitchFamily="34" charset="0"/>
                <a:buNone/>
                <a:tabLst>
                  <a:tab pos="428625" algn="l"/>
                </a:tabLs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Source: Source</a:t>
              </a:r>
              <a:endParaRPr lang="en-US" sz="1000">
                <a:solidFill>
                  <a:srgbClr val="000000"/>
                </a:solidFill>
                <a:latin typeface="Calibri" pitchFamily="34" charset="0"/>
                <a:sym typeface="Calibri" pitchFamily="34" charset="0"/>
              </a:endParaRPr>
            </a:p>
          </p:txBody>
        </p:sp>
      </p:grpSp>
      <p:grpSp>
        <p:nvGrpSpPr>
          <p:cNvPr id="9233" name="Group 37" hidden="1"/>
          <p:cNvGrpSpPr>
            <a:grpSpLocks/>
          </p:cNvGrpSpPr>
          <p:nvPr/>
        </p:nvGrpSpPr>
        <p:grpSpPr bwMode="auto">
          <a:xfrm>
            <a:off x="11049958" y="657229"/>
            <a:ext cx="882074" cy="1308099"/>
            <a:chOff x="0" y="0"/>
            <a:chExt cx="653301" cy="1306516"/>
          </a:xfrm>
        </p:grpSpPr>
        <p:sp>
          <p:nvSpPr>
            <p:cNvPr id="9254" name="Legend1"/>
            <p:cNvSpPr>
              <a:spLocks noChangeArrowheads="1"/>
            </p:cNvSpPr>
            <p:nvPr/>
          </p:nvSpPr>
          <p:spPr bwMode="auto">
            <a:xfrm>
              <a:off x="320633" y="12685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5" name="Legend2"/>
            <p:cNvSpPr>
              <a:spLocks noChangeArrowheads="1"/>
            </p:cNvSpPr>
            <p:nvPr/>
          </p:nvSpPr>
          <p:spPr bwMode="auto">
            <a:xfrm>
              <a:off x="320633" y="286990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6" name="Legend3"/>
            <p:cNvSpPr>
              <a:spLocks noChangeArrowheads="1"/>
            </p:cNvSpPr>
            <p:nvPr/>
          </p:nvSpPr>
          <p:spPr bwMode="auto">
            <a:xfrm>
              <a:off x="320633" y="56129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7" name="Legend4"/>
            <p:cNvSpPr>
              <a:spLocks noChangeArrowheads="1"/>
            </p:cNvSpPr>
            <p:nvPr/>
          </p:nvSpPr>
          <p:spPr bwMode="auto">
            <a:xfrm>
              <a:off x="320633" y="83401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sp>
          <p:nvSpPr>
            <p:cNvPr id="9258" name="Legend5"/>
            <p:cNvSpPr>
              <a:spLocks noChangeArrowheads="1"/>
            </p:cNvSpPr>
            <p:nvPr/>
          </p:nvSpPr>
          <p:spPr bwMode="auto">
            <a:xfrm>
              <a:off x="320633" y="1109904"/>
              <a:ext cx="332668" cy="184443"/>
            </a:xfrm>
            <a:prstGeom prst="rect">
              <a:avLst/>
            </a:prstGeom>
            <a:noFill/>
            <a:ln w="9525" cmpd="sng">
              <a:noFill/>
              <a:bevel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buClr>
                  <a:srgbClr val="E71921"/>
                </a:buClr>
                <a:buFont typeface="Arial" pitchFamily="34" charset="0"/>
                <a:buNone/>
                <a:defRPr/>
              </a:pPr>
              <a:r>
                <a: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rPr>
                <a:t>Legend</a:t>
              </a:r>
              <a:endParaRPr lang="en-US" altLang="en-US">
                <a:latin typeface="Arial" pitchFamily="34" charset="0"/>
              </a:endParaRPr>
            </a:p>
          </p:txBody>
        </p:sp>
        <p:grpSp>
          <p:nvGrpSpPr>
            <p:cNvPr id="9245" name="Group 43"/>
            <p:cNvGrpSpPr>
              <a:grpSpLocks noChangeAspect="1"/>
            </p:cNvGrpSpPr>
            <p:nvPr/>
          </p:nvGrpSpPr>
          <p:grpSpPr bwMode="auto">
            <a:xfrm>
              <a:off x="0" y="0"/>
              <a:ext cx="209550" cy="209551"/>
              <a:chOff x="0" y="0"/>
              <a:chExt cx="160" cy="160"/>
            </a:xfrm>
          </p:grpSpPr>
          <p:sp>
            <p:nvSpPr>
              <p:cNvPr id="9260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9246" name="Group 46"/>
            <p:cNvGrpSpPr>
              <a:grpSpLocks noChangeAspect="1"/>
            </p:cNvGrpSpPr>
            <p:nvPr/>
          </p:nvGrpSpPr>
          <p:grpSpPr bwMode="auto">
            <a:xfrm>
              <a:off x="0" y="274241"/>
              <a:ext cx="209550" cy="209551"/>
              <a:chOff x="0" y="0"/>
              <a:chExt cx="160" cy="160"/>
            </a:xfrm>
          </p:grpSpPr>
          <p:sp>
            <p:nvSpPr>
              <p:cNvPr id="9263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9247" name="Group 49"/>
            <p:cNvGrpSpPr>
              <a:grpSpLocks noChangeAspect="1"/>
            </p:cNvGrpSpPr>
            <p:nvPr/>
          </p:nvGrpSpPr>
          <p:grpSpPr bwMode="auto">
            <a:xfrm>
              <a:off x="0" y="548482"/>
              <a:ext cx="209550" cy="209551"/>
              <a:chOff x="0" y="0"/>
              <a:chExt cx="160" cy="160"/>
            </a:xfrm>
          </p:grpSpPr>
          <p:sp>
            <p:nvSpPr>
              <p:cNvPr id="9266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9248" name="Group 52"/>
            <p:cNvGrpSpPr>
              <a:grpSpLocks noChangeAspect="1"/>
            </p:cNvGrpSpPr>
            <p:nvPr/>
          </p:nvGrpSpPr>
          <p:grpSpPr bwMode="auto">
            <a:xfrm>
              <a:off x="0" y="822723"/>
              <a:ext cx="209550" cy="209551"/>
              <a:chOff x="0" y="0"/>
              <a:chExt cx="160" cy="160"/>
            </a:xfrm>
          </p:grpSpPr>
          <p:sp>
            <p:nvSpPr>
              <p:cNvPr id="9269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  <p:grpSp>
          <p:nvGrpSpPr>
            <p:cNvPr id="9249" name="Group 55"/>
            <p:cNvGrpSpPr>
              <a:grpSpLocks noChangeAspect="1"/>
            </p:cNvGrpSpPr>
            <p:nvPr/>
          </p:nvGrpSpPr>
          <p:grpSpPr bwMode="auto">
            <a:xfrm>
              <a:off x="0" y="1096965"/>
              <a:ext cx="209550" cy="209551"/>
              <a:chOff x="0" y="0"/>
              <a:chExt cx="160" cy="160"/>
            </a:xfrm>
          </p:grpSpPr>
          <p:sp>
            <p:nvSpPr>
              <p:cNvPr id="9272" name="Oval 41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 cmpd="sng">
                <a:solidFill>
                  <a:srgbClr val="808080"/>
                </a:solidFill>
                <a:bevel/>
                <a:headEnd/>
                <a:tailEnd/>
              </a:ln>
            </p:spPr>
            <p:txBody>
              <a:bodyPr wrap="none" anchor="ctr"/>
              <a:lstStyle/>
              <a:p>
                <a:pPr>
                  <a:buFont typeface="Arial" pitchFamily="34" charset="0"/>
                  <a:buNone/>
                  <a:defRPr/>
                </a:pPr>
                <a:endParaRPr lang="en-US" sz="1200">
                  <a:solidFill>
                    <a:srgbClr val="000000"/>
                  </a:solidFill>
                  <a:latin typeface="Calibri" pitchFamily="34" charset="0"/>
                  <a:sym typeface="Calibri" pitchFamily="34" charset="0"/>
                </a:endParaRPr>
              </a:p>
            </p:txBody>
          </p:sp>
        </p:grpSp>
      </p:grpSp>
      <p:pic>
        <p:nvPicPr>
          <p:cNvPr id="9234" name="Picture 98" descr="http://grafolit.si/images/clients/app-logo.pn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1112124" y="6510339"/>
            <a:ext cx="97940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235" name="Group 59"/>
          <p:cNvGrpSpPr>
            <a:grpSpLocks/>
          </p:cNvGrpSpPr>
          <p:nvPr/>
        </p:nvGrpSpPr>
        <p:grpSpPr bwMode="auto">
          <a:xfrm>
            <a:off x="21" y="0"/>
            <a:ext cx="192881" cy="6858000"/>
            <a:chOff x="0" y="0"/>
            <a:chExt cx="142876" cy="6858000"/>
          </a:xfrm>
        </p:grpSpPr>
        <p:sp>
          <p:nvSpPr>
            <p:cNvPr id="9276" name="Rectangle 76"/>
            <p:cNvSpPr>
              <a:spLocks noChangeArrowheads="1"/>
            </p:cNvSpPr>
            <p:nvPr/>
          </p:nvSpPr>
          <p:spPr bwMode="auto">
            <a:xfrm>
              <a:off x="0" y="0"/>
              <a:ext cx="142876" cy="2284413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9277" name="Rectangle 91"/>
            <p:cNvSpPr>
              <a:spLocks noChangeArrowheads="1"/>
            </p:cNvSpPr>
            <p:nvPr/>
          </p:nvSpPr>
          <p:spPr bwMode="auto">
            <a:xfrm>
              <a:off x="0" y="2286000"/>
              <a:ext cx="142876" cy="4572000"/>
            </a:xfrm>
            <a:prstGeom prst="rect">
              <a:avLst/>
            </a:prstGeom>
            <a:solidFill>
              <a:srgbClr val="E71921"/>
            </a:solidFill>
            <a:ln w="9525" cap="flat" cmpd="sng">
              <a:noFill/>
              <a:bevel/>
              <a:headEnd/>
              <a:tailEnd/>
            </a:ln>
          </p:spPr>
          <p:txBody>
            <a:bodyPr anchor="ctr"/>
            <a:lstStyle/>
            <a:p>
              <a:pPr algn="ctr">
                <a:buFont typeface="Arial" pitchFamily="34" charset="0"/>
                <a:buNone/>
                <a:defRPr/>
              </a:pPr>
              <a:endParaRPr lang="en-US" sz="18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endParaRPr>
            </a:p>
          </p:txBody>
        </p:sp>
        <p:sp>
          <p:nvSpPr>
            <p:cNvPr id="9278" name="Straight Connector 92"/>
            <p:cNvSpPr>
              <a:spLocks noChangeShapeType="1"/>
            </p:cNvSpPr>
            <p:nvPr/>
          </p:nvSpPr>
          <p:spPr bwMode="auto">
            <a:xfrm flipV="1">
              <a:off x="0" y="2286000"/>
              <a:ext cx="142876" cy="0"/>
            </a:xfrm>
            <a:prstGeom prst="line">
              <a:avLst/>
            </a:prstGeom>
            <a:noFill/>
            <a:ln w="190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pPr>
                <a:buFont typeface="Arial" pitchFamily="34" charset="0"/>
                <a:buNone/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9279" name="Slide Number"/>
          <p:cNvSpPr>
            <a:spLocks noChangeArrowheads="1"/>
          </p:cNvSpPr>
          <p:nvPr/>
        </p:nvSpPr>
        <p:spPr bwMode="auto">
          <a:xfrm>
            <a:off x="10652136" y="6458792"/>
            <a:ext cx="2821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buFont typeface="Arial" pitchFamily="34" charset="0"/>
              <a:buNone/>
              <a:defRPr/>
            </a:pPr>
            <a:fld id="{DEC4A112-DD95-4C5A-8F36-48E6DA8793CF}" type="slidenum">
              <a:rPr lang="en-US" sz="18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Calibri" pitchFamily="34" charset="0"/>
              </a:rPr>
              <a:pPr algn="r">
                <a:buFont typeface="Arial" pitchFamily="34" charset="0"/>
                <a:buNone/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</p:sldLayoutIdLst>
  <p:txStyles>
    <p:titleStyle>
      <a:lvl1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  <a:sym typeface="Arial Unicode MS" pitchFamily="34" charset="-128"/>
        </a:defRPr>
      </a:lvl1pPr>
      <a:lvl2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2pPr>
      <a:lvl3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3pPr>
      <a:lvl4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4pPr>
      <a:lvl5pPr marL="914400" indent="-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5pPr>
      <a:lvl6pPr marL="13716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6pPr>
      <a:lvl7pPr marL="18288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7pPr>
      <a:lvl8pPr marL="22860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8pPr>
      <a:lvl9pPr marL="2743200" indent="-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  <a:ea typeface="Arial Unicode MS" pitchFamily="34" charset="-128"/>
          <a:cs typeface="Arial Unicode MS" pitchFamily="34" charset="-128"/>
          <a:sym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1pPr>
      <a:lvl2pPr marL="196850" indent="-1952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2pPr>
      <a:lvl3pPr marL="466725" indent="-26670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3pPr>
      <a:lvl4pPr marL="627063" indent="-15875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4pPr>
      <a:lvl5pPr marL="765175" indent="-131763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5pPr>
      <a:lvl6pPr marL="12223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6pPr>
      <a:lvl7pPr marL="16795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7pPr>
      <a:lvl8pPr marL="21367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8pPr>
      <a:lvl9pPr marL="2593975" indent="-131763" algn="l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  <a:cs typeface="+mn-cs"/>
          <a:sym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0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0.xml"/><Relationship Id="rId4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0.xml"/><Relationship Id="rId4" Type="http://schemas.openxmlformats.org/officeDocument/2006/relationships/chart" Target="../charts/char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0.xml"/><Relationship Id="rId4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12" Type="http://schemas.openxmlformats.org/officeDocument/2006/relationships/image" Target="../media/image16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10.svg"/><Relationship Id="rId11" Type="http://schemas.openxmlformats.org/officeDocument/2006/relationships/image" Target="../media/image17.png"/><Relationship Id="rId5" Type="http://schemas.openxmlformats.org/officeDocument/2006/relationships/image" Target="../media/image14.pn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0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0.xml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078" y="2544004"/>
            <a:ext cx="11729322" cy="553998"/>
          </a:xfrm>
        </p:spPr>
        <p:txBody>
          <a:bodyPr/>
          <a:lstStyle/>
          <a:p>
            <a:r>
              <a:rPr lang="en-US" sz="3600" dirty="0" smtClean="0">
                <a:solidFill>
                  <a:schemeClr val="accent2">
                    <a:lumMod val="75000"/>
                  </a:schemeClr>
                </a:solidFill>
              </a:rPr>
              <a:t>Total </a:t>
            </a:r>
            <a:r>
              <a:rPr lang="en-US" sz="3600" dirty="0" smtClean="0">
                <a:solidFill>
                  <a:schemeClr val="accent2">
                    <a:lumMod val="75000"/>
                  </a:schemeClr>
                </a:solidFill>
              </a:rPr>
              <a:t>Dissolved </a:t>
            </a:r>
            <a:r>
              <a:rPr lang="en-US" sz="3600" dirty="0" smtClean="0">
                <a:solidFill>
                  <a:schemeClr val="accent2">
                    <a:lumMod val="75000"/>
                  </a:schemeClr>
                </a:solidFill>
              </a:rPr>
              <a:t>Solid (TDS)</a:t>
            </a:r>
            <a:endParaRPr lang="en-U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716250" y="3160364"/>
            <a:ext cx="2153853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1100" kern="0" dirty="0">
              <a:solidFill>
                <a:schemeClr val="accent3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636847" y="6495350"/>
            <a:ext cx="2233256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t update : 2</a:t>
            </a:r>
            <a:r>
              <a:rPr lang="en-US" sz="1100" kern="0" dirty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kern="0" dirty="0" smtClean="0">
                <a:solidFill>
                  <a:schemeClr val="accent3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e 2025</a:t>
            </a:r>
            <a:endParaRPr lang="en-US" sz="1100" kern="0" dirty="0">
              <a:solidFill>
                <a:schemeClr val="accent3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680625" y="2173613"/>
            <a:ext cx="3523241" cy="369332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2400" kern="0" dirty="0" smtClean="0">
                <a:solidFill>
                  <a:schemeClr val="bg1">
                    <a:lumMod val="75000"/>
                  </a:schemeClr>
                </a:solidFill>
              </a:rPr>
              <a:t>Sharing Technical</a:t>
            </a:r>
            <a:endParaRPr lang="en-US" sz="2400" kern="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144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of TD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6294588"/>
              </p:ext>
            </p:extLst>
          </p:nvPr>
        </p:nvGraphicFramePr>
        <p:xfrm>
          <a:off x="361207" y="687532"/>
          <a:ext cx="11383480" cy="4976998"/>
        </p:xfrm>
        <a:graphic>
          <a:graphicData uri="http://schemas.openxmlformats.org/drawingml/2006/table">
            <a:tbl>
              <a:tblPr/>
              <a:tblGrid>
                <a:gridCol w="1299473"/>
                <a:gridCol w="534461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  <a:gridCol w="561738"/>
              </a:tblGrid>
              <a:tr h="4354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Parameter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Unit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Jan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Feb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Mar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Apr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May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Jun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Jul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Aug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Sep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Oct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Nov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Dec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Jan-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Feb-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Mar-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2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ulp Produc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/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1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6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4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6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7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6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4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3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5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3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,9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7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7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6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9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3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7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appa Numb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L Cook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g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BL Rati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4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Solid WB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.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.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4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4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4.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4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ganic  TS WBL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D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61.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62.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1.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Solid HBL Fi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4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74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74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74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.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74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WBL to VE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da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6,9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1,1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1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1,7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,7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8,7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,4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6,7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,1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,9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,5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8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2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,8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9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,9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,0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HBL Fi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da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3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4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8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2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9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2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0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7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1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4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,3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0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0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9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3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73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1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Net fi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6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6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1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3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0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2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9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7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2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4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6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4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6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5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,0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,8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7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.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.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.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am Produc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,1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8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,4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8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1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7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,8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,9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8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,7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,4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,2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5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,6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8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,3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,3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3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am Rati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n/TD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454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9459154" cy="677108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of TDS - </a:t>
            </a:r>
            <a:r>
              <a:rPr lang="en-US" dirty="0">
                <a:solidFill>
                  <a:schemeClr val="tx1"/>
                </a:solidFill>
              </a:rPr>
              <a:t>Blow Line Kappa , WL Oxidation consumption and TDS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5190196"/>
              </p:ext>
            </p:extLst>
          </p:nvPr>
        </p:nvGraphicFramePr>
        <p:xfrm>
          <a:off x="254862" y="549493"/>
          <a:ext cx="8794135" cy="2761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3587839"/>
              </p:ext>
            </p:extLst>
          </p:nvPr>
        </p:nvGraphicFramePr>
        <p:xfrm>
          <a:off x="254861" y="3411897"/>
          <a:ext cx="8817887" cy="2929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203129" y="549493"/>
            <a:ext cx="28578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Higher Kappa number reduce WL cooking consumption.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739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7547226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of TDS - </a:t>
            </a:r>
            <a:r>
              <a:rPr lang="en-US" dirty="0">
                <a:solidFill>
                  <a:schemeClr val="tx1"/>
                </a:solidFill>
              </a:rPr>
              <a:t>Pulp Production , TDS &amp; WBL To </a:t>
            </a:r>
            <a:r>
              <a:rPr lang="en-US" dirty="0" err="1">
                <a:solidFill>
                  <a:schemeClr val="tx1"/>
                </a:solidFill>
              </a:rPr>
              <a:t>V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9588173"/>
              </p:ext>
            </p:extLst>
          </p:nvPr>
        </p:nvGraphicFramePr>
        <p:xfrm>
          <a:off x="254861" y="3519797"/>
          <a:ext cx="8912889" cy="2928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3705752"/>
              </p:ext>
            </p:extLst>
          </p:nvPr>
        </p:nvGraphicFramePr>
        <p:xfrm>
          <a:off x="254862" y="521276"/>
          <a:ext cx="8865387" cy="2851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234178" y="3558633"/>
            <a:ext cx="29974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WBL Total Solid Increase start Jan 25 From </a:t>
            </a:r>
            <a:r>
              <a:rPr lang="en-US" sz="1200" b="1" dirty="0" smtClean="0"/>
              <a:t>14.07</a:t>
            </a:r>
            <a:r>
              <a:rPr lang="en-US" sz="1200" dirty="0" smtClean="0"/>
              <a:t> to </a:t>
            </a:r>
            <a:r>
              <a:rPr lang="en-US" sz="1200" b="1" dirty="0" smtClean="0"/>
              <a:t>14.48 %</a:t>
            </a:r>
            <a:r>
              <a:rPr lang="en-US" sz="1200" dirty="0" smtClean="0"/>
              <a:t>, impacted to TDS Ratio.</a:t>
            </a:r>
          </a:p>
        </p:txBody>
      </p:sp>
    </p:spTree>
    <p:extLst>
      <p:ext uri="{BB962C8B-B14F-4D97-AF65-F5344CB8AC3E}">
        <p14:creationId xmlns:p14="http://schemas.microsoft.com/office/powerpoint/2010/main" val="1018712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7665980" cy="677108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of TDS - </a:t>
            </a: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lp Production , TDS &amp; HBL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5242307"/>
              </p:ext>
            </p:extLst>
          </p:nvPr>
        </p:nvGraphicFramePr>
        <p:xfrm>
          <a:off x="407324" y="3463210"/>
          <a:ext cx="9128562" cy="2738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611096" y="3383230"/>
            <a:ext cx="2619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HBL Firing Total Solid Increase start Jan 25 From </a:t>
            </a:r>
            <a:r>
              <a:rPr lang="en-US" sz="1200" b="1" dirty="0" smtClean="0"/>
              <a:t>73.6</a:t>
            </a:r>
            <a:r>
              <a:rPr lang="en-US" sz="1200" dirty="0" smtClean="0"/>
              <a:t> to </a:t>
            </a:r>
            <a:r>
              <a:rPr lang="en-US" sz="1200" b="1" dirty="0" smtClean="0"/>
              <a:t>74.9 %</a:t>
            </a:r>
            <a:r>
              <a:rPr lang="en-US" sz="1200" dirty="0" smtClean="0"/>
              <a:t>, impacted to increase TDS Ratio.</a:t>
            </a:r>
            <a:endParaRPr lang="en-US" sz="1200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5965300"/>
              </p:ext>
            </p:extLst>
          </p:nvPr>
        </p:nvGraphicFramePr>
        <p:xfrm>
          <a:off x="370901" y="551624"/>
          <a:ext cx="9176859" cy="2797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22128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6929709" cy="677108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valuation of TDS - </a:t>
            </a: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DS &amp; Organic Content in TS WBL</a:t>
            </a:r>
            <a:b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747289" y="767932"/>
            <a:ext cx="33774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Organic content in TS WBL increase Dec 24 – Feb 25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Increase Total Solid WBL start Jan – Mar 25, </a:t>
            </a:r>
            <a:r>
              <a:rPr lang="en-US" sz="1200" b="1" dirty="0" smtClean="0"/>
              <a:t>14.1</a:t>
            </a:r>
            <a:r>
              <a:rPr lang="en-US" sz="1200" dirty="0" smtClean="0"/>
              <a:t> to </a:t>
            </a:r>
            <a:r>
              <a:rPr lang="en-US" sz="1200" b="1" dirty="0" smtClean="0"/>
              <a:t>14.5 %</a:t>
            </a:r>
            <a:endParaRPr lang="en-US" sz="1200" b="1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2465791"/>
              </p:ext>
            </p:extLst>
          </p:nvPr>
        </p:nvGraphicFramePr>
        <p:xfrm>
          <a:off x="254862" y="559687"/>
          <a:ext cx="8426000" cy="3074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6586932"/>
              </p:ext>
            </p:extLst>
          </p:nvPr>
        </p:nvGraphicFramePr>
        <p:xfrm>
          <a:off x="254862" y="3728601"/>
          <a:ext cx="8426000" cy="2612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87448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7502" y="2973267"/>
            <a:ext cx="2179580" cy="51808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2">
                    <a:lumMod val="75000"/>
                  </a:schemeClr>
                </a:solidFill>
              </a:rPr>
              <a:t>Attachment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80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Formula TDS </a:t>
            </a:r>
            <a:r>
              <a:rPr lang="en-US" dirty="0" err="1" smtClean="0">
                <a:solidFill>
                  <a:schemeClr val="accent2">
                    <a:lumMod val="75000"/>
                  </a:schemeClr>
                </a:solidFill>
              </a:rPr>
              <a:t>Perawang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 Mill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4732478"/>
              </p:ext>
            </p:extLst>
          </p:nvPr>
        </p:nvGraphicFramePr>
        <p:xfrm>
          <a:off x="463066" y="599700"/>
          <a:ext cx="9751043" cy="5845635"/>
        </p:xfrm>
        <a:graphic>
          <a:graphicData uri="http://schemas.openxmlformats.org/drawingml/2006/table">
            <a:tbl>
              <a:tblPr/>
              <a:tblGrid>
                <a:gridCol w="828000"/>
                <a:gridCol w="2784175"/>
                <a:gridCol w="666868"/>
                <a:gridCol w="936000"/>
                <a:gridCol w="4536000"/>
              </a:tblGrid>
              <a:tr h="19278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e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tem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i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92784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 Wet Pulp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 HTW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low Line Kappa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Avg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L Cook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g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Avg FL+RC - Cal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BL to VE, 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BL Ratio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 = B / A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WBL to VE,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</a:t>
                      </a:r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vg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Sent to VE, 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 = B * %D * (1 + 0.0062*D - 0.0005*80)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 - F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 = E / A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92784">
                <a:tc rowSpan="13"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WBL Stock,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nk Level - 06:3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Δ 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 = G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day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G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'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in WBL Stock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n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 = G * %K * (1 + 0.0062*K - 0.0005*80)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WBL Feed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izer on 06:0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WBL Feed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Avg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in WBL Feed to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 = J * %K * (1 + 0.0062*K - 0.0005*80)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HBL Stock at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nk Level - 06:3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HBL at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b Testing - Avg weighted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in HBL Stock at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 = M * %N * (1 + 0.0062*N - 0.0005*120) * 0.92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Δ 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 = O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day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- O</a:t>
                      </a:r>
                      <a:r>
                        <a:rPr lang="en-GB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'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BL Production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= P + U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Production VE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 = Q * %N * (1 + 0.0062*N - 0.0005*120) * 0.92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tio WBL to HBL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/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 = J / Q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92784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TDS Production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63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olume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³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62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mperature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°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90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S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89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HBL Firing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f. to Sheet TDS Cal;Row 56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 Wet Pulp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Ad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= T / A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052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 Ratio HTW</a:t>
                      </a:r>
                    </a:p>
                  </a:txBody>
                  <a:tcPr marL="72999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DS/</a:t>
                      </a:r>
                      <a:r>
                        <a:rPr lang="en-GB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t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 = T / A1</a:t>
                      </a:r>
                    </a:p>
                  </a:txBody>
                  <a:tcPr marL="72999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0159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Outline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3159876" y="2162065"/>
            <a:ext cx="1651768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Introduction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9" name="Freeform 3"/>
          <p:cNvSpPr/>
          <p:nvPr/>
        </p:nvSpPr>
        <p:spPr>
          <a:xfrm>
            <a:off x="4934158" y="1962139"/>
            <a:ext cx="1545432" cy="1222823"/>
          </a:xfrm>
          <a:custGeom>
            <a:avLst/>
            <a:gdLst/>
            <a:ahLst/>
            <a:cxnLst/>
            <a:rect l="l" t="t" r="r" b="b"/>
            <a:pathLst>
              <a:path w="2318148" h="1834234">
                <a:moveTo>
                  <a:pt x="0" y="0"/>
                </a:moveTo>
                <a:lnTo>
                  <a:pt x="2318147" y="0"/>
                </a:lnTo>
                <a:lnTo>
                  <a:pt x="2318147" y="1834234"/>
                </a:lnTo>
                <a:lnTo>
                  <a:pt x="0" y="1834234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19999"/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</p:sp>
      <p:sp>
        <p:nvSpPr>
          <p:cNvPr id="10" name="AutoShape 4"/>
          <p:cNvSpPr/>
          <p:nvPr/>
        </p:nvSpPr>
        <p:spPr>
          <a:xfrm>
            <a:off x="5848588" y="2335184"/>
            <a:ext cx="550436" cy="0"/>
          </a:xfrm>
          <a:prstGeom prst="line">
            <a:avLst/>
          </a:prstGeom>
          <a:ln w="28575" cap="flat">
            <a:solidFill>
              <a:srgbClr val="3C5679"/>
            </a:solidFill>
            <a:prstDash val="sysDash"/>
            <a:headEnd type="oval" w="lg" len="lg"/>
            <a:tailEnd type="none" w="sm" len="sm"/>
          </a:ln>
        </p:spPr>
      </p:sp>
      <p:sp>
        <p:nvSpPr>
          <p:cNvPr id="12" name="AutoShape 5"/>
          <p:cNvSpPr/>
          <p:nvPr/>
        </p:nvSpPr>
        <p:spPr>
          <a:xfrm>
            <a:off x="4708406" y="3784124"/>
            <a:ext cx="1665218" cy="0"/>
          </a:xfrm>
          <a:prstGeom prst="line">
            <a:avLst/>
          </a:prstGeom>
          <a:ln w="28575" cap="flat">
            <a:solidFill>
              <a:srgbClr val="3C5679"/>
            </a:solidFill>
            <a:prstDash val="sysDash"/>
            <a:headEnd type="oval" w="lg" len="lg"/>
            <a:tailEnd type="none" w="sm" len="sm"/>
          </a:ln>
        </p:spPr>
      </p:sp>
      <p:sp>
        <p:nvSpPr>
          <p:cNvPr id="13" name="Freeform 6"/>
          <p:cNvSpPr/>
          <p:nvPr/>
        </p:nvSpPr>
        <p:spPr>
          <a:xfrm>
            <a:off x="4161442" y="3355039"/>
            <a:ext cx="1545432" cy="1222823"/>
          </a:xfrm>
          <a:custGeom>
            <a:avLst/>
            <a:gdLst/>
            <a:ahLst/>
            <a:cxnLst/>
            <a:rect l="l" t="t" r="r" b="b"/>
            <a:pathLst>
              <a:path w="2318148" h="1834234">
                <a:moveTo>
                  <a:pt x="0" y="0"/>
                </a:moveTo>
                <a:lnTo>
                  <a:pt x="2318148" y="0"/>
                </a:lnTo>
                <a:lnTo>
                  <a:pt x="2318148" y="1834235"/>
                </a:lnTo>
                <a:lnTo>
                  <a:pt x="0" y="183423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19999"/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</p:sp>
      <p:sp>
        <p:nvSpPr>
          <p:cNvPr id="14" name="AutoShape 7"/>
          <p:cNvSpPr/>
          <p:nvPr/>
        </p:nvSpPr>
        <p:spPr>
          <a:xfrm>
            <a:off x="6335524" y="4895084"/>
            <a:ext cx="1225407" cy="0"/>
          </a:xfrm>
          <a:prstGeom prst="line">
            <a:avLst/>
          </a:prstGeom>
          <a:ln w="28575" cap="flat">
            <a:solidFill>
              <a:srgbClr val="3C5679"/>
            </a:solidFill>
            <a:prstDash val="sysDash"/>
            <a:headEnd type="oval" w="lg" len="lg"/>
            <a:tailEnd type="none" w="sm" len="sm"/>
          </a:ln>
        </p:spPr>
      </p:sp>
      <p:sp>
        <p:nvSpPr>
          <p:cNvPr id="15" name="Freeform 8"/>
          <p:cNvSpPr/>
          <p:nvPr/>
        </p:nvSpPr>
        <p:spPr>
          <a:xfrm>
            <a:off x="6819965" y="4311651"/>
            <a:ext cx="1545432" cy="1222823"/>
          </a:xfrm>
          <a:custGeom>
            <a:avLst/>
            <a:gdLst/>
            <a:ahLst/>
            <a:cxnLst/>
            <a:rect l="l" t="t" r="r" b="b"/>
            <a:pathLst>
              <a:path w="2318148" h="1834234">
                <a:moveTo>
                  <a:pt x="0" y="0"/>
                </a:moveTo>
                <a:lnTo>
                  <a:pt x="2318148" y="0"/>
                </a:lnTo>
                <a:lnTo>
                  <a:pt x="2318148" y="1834235"/>
                </a:lnTo>
                <a:lnTo>
                  <a:pt x="0" y="183423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19999"/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</p:sp>
      <p:sp>
        <p:nvSpPr>
          <p:cNvPr id="16" name="AutoShape 9"/>
          <p:cNvSpPr/>
          <p:nvPr/>
        </p:nvSpPr>
        <p:spPr>
          <a:xfrm>
            <a:off x="6367274" y="2853622"/>
            <a:ext cx="1354145" cy="0"/>
          </a:xfrm>
          <a:prstGeom prst="line">
            <a:avLst/>
          </a:prstGeom>
          <a:ln w="28575" cap="flat">
            <a:solidFill>
              <a:srgbClr val="3C5679"/>
            </a:solidFill>
            <a:prstDash val="sysDash"/>
            <a:headEnd type="none" w="sm" len="sm"/>
            <a:tailEnd type="oval" w="lg" len="lg"/>
          </a:ln>
        </p:spPr>
      </p:sp>
      <p:sp>
        <p:nvSpPr>
          <p:cNvPr id="17" name="Freeform 10"/>
          <p:cNvSpPr/>
          <p:nvPr/>
        </p:nvSpPr>
        <p:spPr>
          <a:xfrm>
            <a:off x="6671831" y="2480577"/>
            <a:ext cx="1545432" cy="1222823"/>
          </a:xfrm>
          <a:custGeom>
            <a:avLst/>
            <a:gdLst/>
            <a:ahLst/>
            <a:cxnLst/>
            <a:rect l="l" t="t" r="r" b="b"/>
            <a:pathLst>
              <a:path w="2318148" h="1834234">
                <a:moveTo>
                  <a:pt x="0" y="0"/>
                </a:moveTo>
                <a:lnTo>
                  <a:pt x="2318148" y="0"/>
                </a:lnTo>
                <a:lnTo>
                  <a:pt x="2318148" y="1834235"/>
                </a:lnTo>
                <a:lnTo>
                  <a:pt x="0" y="183423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19999"/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</p:sp>
      <p:sp>
        <p:nvSpPr>
          <p:cNvPr id="18" name="AutoShape 11"/>
          <p:cNvSpPr/>
          <p:nvPr/>
        </p:nvSpPr>
        <p:spPr>
          <a:xfrm flipV="1">
            <a:off x="6373624" y="2344709"/>
            <a:ext cx="9525" cy="2578353"/>
          </a:xfrm>
          <a:prstGeom prst="line">
            <a:avLst/>
          </a:prstGeom>
          <a:ln w="28575" cap="flat">
            <a:solidFill>
              <a:srgbClr val="3C5679"/>
            </a:solidFill>
            <a:prstDash val="lgDash"/>
            <a:headEnd type="none" w="sm" len="sm"/>
            <a:tailEnd type="none" w="sm" len="sm"/>
          </a:ln>
        </p:spPr>
      </p:sp>
      <p:grpSp>
        <p:nvGrpSpPr>
          <p:cNvPr id="19" name="Group 12"/>
          <p:cNvGrpSpPr/>
          <p:nvPr/>
        </p:nvGrpSpPr>
        <p:grpSpPr>
          <a:xfrm>
            <a:off x="5036749" y="1880479"/>
            <a:ext cx="1024672" cy="928460"/>
            <a:chOff x="0" y="0"/>
            <a:chExt cx="2550919" cy="2311400"/>
          </a:xfrm>
        </p:grpSpPr>
        <p:sp>
          <p:nvSpPr>
            <p:cNvPr id="20" name="Freeform 13"/>
            <p:cNvSpPr/>
            <p:nvPr/>
          </p:nvSpPr>
          <p:spPr>
            <a:xfrm>
              <a:off x="0" y="0"/>
              <a:ext cx="2550919" cy="2311400"/>
            </a:xfrm>
            <a:custGeom>
              <a:avLst/>
              <a:gdLst/>
              <a:ahLst/>
              <a:cxnLst/>
              <a:rect l="l" t="t" r="r" b="b"/>
              <a:pathLst>
                <a:path w="2550919" h="2311400">
                  <a:moveTo>
                    <a:pt x="2246119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2006600"/>
                  </a:lnTo>
                  <a:cubicBezTo>
                    <a:pt x="0" y="2175510"/>
                    <a:pt x="135890" y="2311400"/>
                    <a:pt x="304800" y="2311400"/>
                  </a:cubicBezTo>
                  <a:lnTo>
                    <a:pt x="2246119" y="2311400"/>
                  </a:lnTo>
                  <a:cubicBezTo>
                    <a:pt x="2415029" y="2311400"/>
                    <a:pt x="2550919" y="2175510"/>
                    <a:pt x="2550919" y="2006600"/>
                  </a:cubicBezTo>
                  <a:lnTo>
                    <a:pt x="2550919" y="304800"/>
                  </a:lnTo>
                  <a:cubicBezTo>
                    <a:pt x="2550919" y="135890"/>
                    <a:pt x="2415029" y="0"/>
                    <a:pt x="2246119" y="0"/>
                  </a:cubicBezTo>
                  <a:close/>
                </a:path>
              </a:pathLst>
            </a:custGeom>
            <a:solidFill>
              <a:srgbClr val="33A685"/>
            </a:solidFill>
          </p:spPr>
        </p:sp>
      </p:grpSp>
      <p:grpSp>
        <p:nvGrpSpPr>
          <p:cNvPr id="21" name="Group 14"/>
          <p:cNvGrpSpPr/>
          <p:nvPr/>
        </p:nvGrpSpPr>
        <p:grpSpPr>
          <a:xfrm>
            <a:off x="6819965" y="2335184"/>
            <a:ext cx="1024672" cy="928460"/>
            <a:chOff x="0" y="0"/>
            <a:chExt cx="2550919" cy="2311400"/>
          </a:xfrm>
        </p:grpSpPr>
        <p:sp>
          <p:nvSpPr>
            <p:cNvPr id="22" name="Freeform 15"/>
            <p:cNvSpPr/>
            <p:nvPr/>
          </p:nvSpPr>
          <p:spPr>
            <a:xfrm>
              <a:off x="0" y="0"/>
              <a:ext cx="2550919" cy="2311400"/>
            </a:xfrm>
            <a:custGeom>
              <a:avLst/>
              <a:gdLst/>
              <a:ahLst/>
              <a:cxnLst/>
              <a:rect l="l" t="t" r="r" b="b"/>
              <a:pathLst>
                <a:path w="2550919" h="2311400">
                  <a:moveTo>
                    <a:pt x="2246119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2006600"/>
                  </a:lnTo>
                  <a:cubicBezTo>
                    <a:pt x="0" y="2175510"/>
                    <a:pt x="135890" y="2311400"/>
                    <a:pt x="304800" y="2311400"/>
                  </a:cubicBezTo>
                  <a:lnTo>
                    <a:pt x="2246119" y="2311400"/>
                  </a:lnTo>
                  <a:cubicBezTo>
                    <a:pt x="2415029" y="2311400"/>
                    <a:pt x="2550919" y="2175510"/>
                    <a:pt x="2550919" y="2006600"/>
                  </a:cubicBezTo>
                  <a:lnTo>
                    <a:pt x="2550919" y="304800"/>
                  </a:lnTo>
                  <a:cubicBezTo>
                    <a:pt x="2550919" y="135890"/>
                    <a:pt x="2415029" y="0"/>
                    <a:pt x="2246119" y="0"/>
                  </a:cubicBezTo>
                  <a:close/>
                </a:path>
              </a:pathLst>
            </a:custGeom>
            <a:solidFill>
              <a:srgbClr val="33A685"/>
            </a:solidFill>
          </p:spPr>
        </p:sp>
      </p:grpSp>
      <p:grpSp>
        <p:nvGrpSpPr>
          <p:cNvPr id="23" name="Group 16"/>
          <p:cNvGrpSpPr/>
          <p:nvPr/>
        </p:nvGrpSpPr>
        <p:grpSpPr>
          <a:xfrm>
            <a:off x="4347363" y="3305728"/>
            <a:ext cx="1024672" cy="928460"/>
            <a:chOff x="0" y="0"/>
            <a:chExt cx="2550919" cy="2311400"/>
          </a:xfrm>
        </p:grpSpPr>
        <p:sp>
          <p:nvSpPr>
            <p:cNvPr id="24" name="Freeform 17"/>
            <p:cNvSpPr/>
            <p:nvPr/>
          </p:nvSpPr>
          <p:spPr>
            <a:xfrm>
              <a:off x="0" y="0"/>
              <a:ext cx="2550919" cy="2311400"/>
            </a:xfrm>
            <a:custGeom>
              <a:avLst/>
              <a:gdLst/>
              <a:ahLst/>
              <a:cxnLst/>
              <a:rect l="l" t="t" r="r" b="b"/>
              <a:pathLst>
                <a:path w="2550919" h="2311400">
                  <a:moveTo>
                    <a:pt x="2246119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2006600"/>
                  </a:lnTo>
                  <a:cubicBezTo>
                    <a:pt x="0" y="2175510"/>
                    <a:pt x="135890" y="2311400"/>
                    <a:pt x="304800" y="2311400"/>
                  </a:cubicBezTo>
                  <a:lnTo>
                    <a:pt x="2246119" y="2311400"/>
                  </a:lnTo>
                  <a:cubicBezTo>
                    <a:pt x="2415029" y="2311400"/>
                    <a:pt x="2550919" y="2175510"/>
                    <a:pt x="2550919" y="2006600"/>
                  </a:cubicBezTo>
                  <a:lnTo>
                    <a:pt x="2550919" y="304800"/>
                  </a:lnTo>
                  <a:cubicBezTo>
                    <a:pt x="2550919" y="135890"/>
                    <a:pt x="2415029" y="0"/>
                    <a:pt x="2246119" y="0"/>
                  </a:cubicBezTo>
                  <a:close/>
                </a:path>
              </a:pathLst>
            </a:custGeom>
            <a:solidFill>
              <a:srgbClr val="33A685"/>
            </a:solidFill>
          </p:spPr>
        </p:sp>
      </p:grpSp>
      <p:grpSp>
        <p:nvGrpSpPr>
          <p:cNvPr id="25" name="Group 18"/>
          <p:cNvGrpSpPr/>
          <p:nvPr/>
        </p:nvGrpSpPr>
        <p:grpSpPr>
          <a:xfrm>
            <a:off x="6893245" y="4332218"/>
            <a:ext cx="1024672" cy="928460"/>
            <a:chOff x="0" y="0"/>
            <a:chExt cx="2550919" cy="2311400"/>
          </a:xfrm>
        </p:grpSpPr>
        <p:sp>
          <p:nvSpPr>
            <p:cNvPr id="26" name="Freeform 19"/>
            <p:cNvSpPr/>
            <p:nvPr/>
          </p:nvSpPr>
          <p:spPr>
            <a:xfrm>
              <a:off x="0" y="0"/>
              <a:ext cx="2550919" cy="2311400"/>
            </a:xfrm>
            <a:custGeom>
              <a:avLst/>
              <a:gdLst/>
              <a:ahLst/>
              <a:cxnLst/>
              <a:rect l="l" t="t" r="r" b="b"/>
              <a:pathLst>
                <a:path w="2550919" h="2311400">
                  <a:moveTo>
                    <a:pt x="2246119" y="0"/>
                  </a:moveTo>
                  <a:lnTo>
                    <a:pt x="304800" y="0"/>
                  </a:lnTo>
                  <a:cubicBezTo>
                    <a:pt x="135890" y="0"/>
                    <a:pt x="0" y="135890"/>
                    <a:pt x="0" y="304800"/>
                  </a:cubicBezTo>
                  <a:lnTo>
                    <a:pt x="0" y="2006600"/>
                  </a:lnTo>
                  <a:cubicBezTo>
                    <a:pt x="0" y="2175510"/>
                    <a:pt x="135890" y="2311400"/>
                    <a:pt x="304800" y="2311400"/>
                  </a:cubicBezTo>
                  <a:lnTo>
                    <a:pt x="2246119" y="2311400"/>
                  </a:lnTo>
                  <a:cubicBezTo>
                    <a:pt x="2415029" y="2311400"/>
                    <a:pt x="2550919" y="2175510"/>
                    <a:pt x="2550919" y="2006600"/>
                  </a:cubicBezTo>
                  <a:lnTo>
                    <a:pt x="2550919" y="304800"/>
                  </a:lnTo>
                  <a:cubicBezTo>
                    <a:pt x="2550919" y="135890"/>
                    <a:pt x="2415029" y="0"/>
                    <a:pt x="2246119" y="0"/>
                  </a:cubicBezTo>
                  <a:close/>
                </a:path>
              </a:pathLst>
            </a:custGeom>
            <a:solidFill>
              <a:srgbClr val="33A685"/>
            </a:solidFill>
          </p:spPr>
        </p:sp>
      </p:grpSp>
      <p:grpSp>
        <p:nvGrpSpPr>
          <p:cNvPr id="27" name="Group 20"/>
          <p:cNvGrpSpPr/>
          <p:nvPr/>
        </p:nvGrpSpPr>
        <p:grpSpPr>
          <a:xfrm>
            <a:off x="5804450" y="1727960"/>
            <a:ext cx="428105" cy="428105"/>
            <a:chOff x="0" y="0"/>
            <a:chExt cx="812800" cy="812800"/>
          </a:xfrm>
        </p:grpSpPr>
        <p:sp>
          <p:nvSpPr>
            <p:cNvPr id="28" name="Freeform 21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CC0DF">
                    <a:alpha val="100000"/>
                  </a:srgbClr>
                </a:gs>
                <a:gs pos="100000">
                  <a:srgbClr val="FFDE59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29" name="TextBox 22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FFFFFF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1</a:t>
              </a:r>
            </a:p>
          </p:txBody>
        </p:sp>
      </p:grpSp>
      <p:grpSp>
        <p:nvGrpSpPr>
          <p:cNvPr id="30" name="Group 23"/>
          <p:cNvGrpSpPr/>
          <p:nvPr/>
        </p:nvGrpSpPr>
        <p:grpSpPr>
          <a:xfrm>
            <a:off x="7646972" y="2145446"/>
            <a:ext cx="428105" cy="428105"/>
            <a:chOff x="0" y="0"/>
            <a:chExt cx="812800" cy="812800"/>
          </a:xfrm>
        </p:grpSpPr>
        <p:sp>
          <p:nvSpPr>
            <p:cNvPr id="31" name="Freeform 2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CC0DF">
                    <a:alpha val="100000"/>
                  </a:srgbClr>
                </a:gs>
                <a:gs pos="100000">
                  <a:srgbClr val="FFDE59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32" name="TextBox 25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FFFFFF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2</a:t>
              </a:r>
            </a:p>
          </p:txBody>
        </p:sp>
      </p:grpSp>
      <p:grpSp>
        <p:nvGrpSpPr>
          <p:cNvPr id="33" name="Group 26"/>
          <p:cNvGrpSpPr/>
          <p:nvPr/>
        </p:nvGrpSpPr>
        <p:grpSpPr>
          <a:xfrm>
            <a:off x="5120980" y="3140987"/>
            <a:ext cx="428105" cy="428105"/>
            <a:chOff x="0" y="0"/>
            <a:chExt cx="812800" cy="812800"/>
          </a:xfrm>
        </p:grpSpPr>
        <p:sp>
          <p:nvSpPr>
            <p:cNvPr id="34" name="Freeform 2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CC0DF">
                    <a:alpha val="100000"/>
                  </a:srgbClr>
                </a:gs>
                <a:gs pos="100000">
                  <a:srgbClr val="FFDE59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35" name="TextBox 28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FFFFFF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3</a:t>
              </a:r>
            </a:p>
          </p:txBody>
        </p:sp>
      </p:grpSp>
      <p:grpSp>
        <p:nvGrpSpPr>
          <p:cNvPr id="36" name="Group 29"/>
          <p:cNvGrpSpPr/>
          <p:nvPr/>
        </p:nvGrpSpPr>
        <p:grpSpPr>
          <a:xfrm>
            <a:off x="7694430" y="4234188"/>
            <a:ext cx="428105" cy="428105"/>
            <a:chOff x="0" y="0"/>
            <a:chExt cx="812800" cy="812800"/>
          </a:xfrm>
        </p:grpSpPr>
        <p:sp>
          <p:nvSpPr>
            <p:cNvPr id="37" name="Freeform 3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CC0DF">
                    <a:alpha val="100000"/>
                  </a:srgbClr>
                </a:gs>
                <a:gs pos="100000">
                  <a:srgbClr val="FFDE59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38" name="TextBox 31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r>
                <a:rPr lang="en-US" sz="1466" b="1">
                  <a:solidFill>
                    <a:srgbClr val="FFFFFF"/>
                  </a:solidFill>
                  <a:latin typeface="Montserrat Bold"/>
                  <a:ea typeface="Montserrat Bold"/>
                  <a:cs typeface="Montserrat Bold"/>
                  <a:sym typeface="Montserrat Bold"/>
                </a:rPr>
                <a:t>4</a:t>
              </a:r>
            </a:p>
          </p:txBody>
        </p:sp>
      </p:grpSp>
      <p:sp>
        <p:nvSpPr>
          <p:cNvPr id="39" name="Freeform 32"/>
          <p:cNvSpPr/>
          <p:nvPr/>
        </p:nvSpPr>
        <p:spPr>
          <a:xfrm>
            <a:off x="7051090" y="2480577"/>
            <a:ext cx="643339" cy="676309"/>
          </a:xfrm>
          <a:custGeom>
            <a:avLst/>
            <a:gdLst/>
            <a:ahLst/>
            <a:cxnLst/>
            <a:rect l="l" t="t" r="r" b="b"/>
            <a:pathLst>
              <a:path w="965009" h="1014464">
                <a:moveTo>
                  <a:pt x="0" y="0"/>
                </a:moveTo>
                <a:lnTo>
                  <a:pt x="965010" y="0"/>
                </a:lnTo>
                <a:lnTo>
                  <a:pt x="965010" y="1014464"/>
                </a:lnTo>
                <a:lnTo>
                  <a:pt x="0" y="1014464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40" name="Freeform 33"/>
          <p:cNvSpPr/>
          <p:nvPr/>
        </p:nvSpPr>
        <p:spPr>
          <a:xfrm>
            <a:off x="4462516" y="3429000"/>
            <a:ext cx="698257" cy="723583"/>
          </a:xfrm>
          <a:custGeom>
            <a:avLst/>
            <a:gdLst/>
            <a:ahLst/>
            <a:cxnLst/>
            <a:rect l="l" t="t" r="r" b="b"/>
            <a:pathLst>
              <a:path w="1047386" h="1085374">
                <a:moveTo>
                  <a:pt x="0" y="0"/>
                </a:moveTo>
                <a:lnTo>
                  <a:pt x="1047387" y="0"/>
                </a:lnTo>
                <a:lnTo>
                  <a:pt x="1047387" y="1085374"/>
                </a:lnTo>
                <a:lnTo>
                  <a:pt x="0" y="1085374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41" name="Freeform 34"/>
          <p:cNvSpPr/>
          <p:nvPr/>
        </p:nvSpPr>
        <p:spPr>
          <a:xfrm>
            <a:off x="5159990" y="1986524"/>
            <a:ext cx="688597" cy="751539"/>
          </a:xfrm>
          <a:custGeom>
            <a:avLst/>
            <a:gdLst/>
            <a:ahLst/>
            <a:cxnLst/>
            <a:rect l="l" t="t" r="r" b="b"/>
            <a:pathLst>
              <a:path w="1032896" h="1127308">
                <a:moveTo>
                  <a:pt x="0" y="0"/>
                </a:moveTo>
                <a:lnTo>
                  <a:pt x="1032897" y="0"/>
                </a:lnTo>
                <a:lnTo>
                  <a:pt x="1032897" y="1127308"/>
                </a:lnTo>
                <a:lnTo>
                  <a:pt x="0" y="1127308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42" name="Freeform 35"/>
          <p:cNvSpPr/>
          <p:nvPr/>
        </p:nvSpPr>
        <p:spPr>
          <a:xfrm>
            <a:off x="7060494" y="4507611"/>
            <a:ext cx="644589" cy="628475"/>
          </a:xfrm>
          <a:custGeom>
            <a:avLst/>
            <a:gdLst/>
            <a:ahLst/>
            <a:cxnLst/>
            <a:rect l="l" t="t" r="r" b="b"/>
            <a:pathLst>
              <a:path w="966884" h="942712">
                <a:moveTo>
                  <a:pt x="0" y="0"/>
                </a:moveTo>
                <a:lnTo>
                  <a:pt x="966885" y="0"/>
                </a:lnTo>
                <a:lnTo>
                  <a:pt x="966885" y="942712"/>
                </a:lnTo>
                <a:lnTo>
                  <a:pt x="0" y="94271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a:blipFill>
        </p:spPr>
      </p:sp>
      <p:sp>
        <p:nvSpPr>
          <p:cNvPr id="48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8144889" y="2681591"/>
            <a:ext cx="2376650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Chemical Recovery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006929" y="3633885"/>
            <a:ext cx="225384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Evaluation of TDS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8144889" y="4662293"/>
            <a:ext cx="1651768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Conclusion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020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Outline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772936" y="870677"/>
            <a:ext cx="1651768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tx1"/>
                </a:solidFill>
              </a:rPr>
              <a:t>Background</a:t>
            </a:r>
            <a:endParaRPr lang="en-US" kern="0" dirty="0">
              <a:solidFill>
                <a:schemeClr val="tx1"/>
              </a:solidFill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772936" y="3295367"/>
            <a:ext cx="2253847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tx1"/>
                </a:solidFill>
              </a:rPr>
              <a:t>Objective</a:t>
            </a:r>
            <a:endParaRPr lang="en-US" kern="0" dirty="0">
              <a:solidFill>
                <a:schemeClr val="tx1"/>
              </a:solidFill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1073975" y="1450589"/>
            <a:ext cx="9993828" cy="120032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b="0" kern="0" dirty="0" smtClean="0">
                <a:solidFill>
                  <a:schemeClr val="tx1"/>
                </a:solidFill>
              </a:rPr>
              <a:t>Total Dissolve Solid (TDS) is key parameters in the </a:t>
            </a:r>
            <a:r>
              <a:rPr lang="en-US" sz="1600" kern="0" dirty="0" err="1" smtClean="0">
                <a:solidFill>
                  <a:schemeClr val="tx1"/>
                </a:solidFill>
              </a:rPr>
              <a:t>kraft</a:t>
            </a:r>
            <a:r>
              <a:rPr lang="en-US" sz="1600" kern="0" dirty="0" smtClean="0">
                <a:solidFill>
                  <a:schemeClr val="tx1"/>
                </a:solidFill>
              </a:rPr>
              <a:t> recovery cycle</a:t>
            </a:r>
            <a:r>
              <a:rPr lang="en-US" sz="1600" b="0" kern="0" dirty="0" smtClean="0">
                <a:solidFill>
                  <a:schemeClr val="tx1"/>
                </a:solidFill>
              </a:rPr>
              <a:t>, especially before the recovery boiler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kern="0" dirty="0" smtClean="0">
                <a:solidFill>
                  <a:schemeClr val="tx1"/>
                </a:solidFill>
              </a:rPr>
              <a:t>High TDS </a:t>
            </a:r>
            <a:r>
              <a:rPr lang="en-US" sz="1600" b="0" kern="0" dirty="0" smtClean="0">
                <a:solidFill>
                  <a:schemeClr val="tx1"/>
                </a:solidFill>
              </a:rPr>
              <a:t>can cause operational inefficiencies (Impact to LUC)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en-US" sz="2000" b="0" kern="0" dirty="0">
              <a:solidFill>
                <a:schemeClr val="tx1"/>
              </a:solidFill>
            </a:endParaRP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1073975" y="3799924"/>
            <a:ext cx="8117526" cy="1521955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b="0" kern="0" dirty="0" smtClean="0">
                <a:solidFill>
                  <a:schemeClr val="tx1"/>
                </a:solidFill>
              </a:rPr>
              <a:t>To provide clear understanding of what TDS &amp; Role in </a:t>
            </a:r>
            <a:r>
              <a:rPr lang="en-US" sz="1600" b="0" kern="0" dirty="0" err="1" smtClean="0">
                <a:solidFill>
                  <a:schemeClr val="tx1"/>
                </a:solidFill>
              </a:rPr>
              <a:t>kraft</a:t>
            </a:r>
            <a:r>
              <a:rPr lang="en-US" sz="1600" b="0" kern="0" dirty="0" smtClean="0">
                <a:solidFill>
                  <a:schemeClr val="tx1"/>
                </a:solidFill>
              </a:rPr>
              <a:t> pulp process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b="0" kern="0" dirty="0" smtClean="0">
                <a:solidFill>
                  <a:schemeClr val="tx1"/>
                </a:solidFill>
              </a:rPr>
              <a:t>To share actual plant data &amp; trend related to TDS monitoring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600" b="0" kern="0" dirty="0" smtClean="0">
                <a:solidFill>
                  <a:schemeClr val="tx1"/>
                </a:solidFill>
              </a:rPr>
              <a:t>To promote awareness and best practices for optimizing TDS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en-US" sz="2000" b="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508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53265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Chemical Recovery </a:t>
            </a:r>
            <a:r>
              <a:rPr lang="en-US" dirty="0" smtClean="0">
                <a:solidFill>
                  <a:schemeClr val="tx1"/>
                </a:solidFill>
              </a:rPr>
              <a:t>Kraft Pulp Cyc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578" name="Picture 2" descr="Y:\Other\Agung\Journal Review\Others\applsci-10-02317-g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413" y="541846"/>
            <a:ext cx="8952747" cy="5434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 bwMode="auto">
          <a:xfrm>
            <a:off x="5260770" y="2980705"/>
            <a:ext cx="3016332" cy="2995551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75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6108637" y="6044645"/>
            <a:ext cx="1320598" cy="338554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kern="0" dirty="0" smtClean="0">
                <a:solidFill>
                  <a:schemeClr val="accent2">
                    <a:lumMod val="75000"/>
                  </a:schemeClr>
                </a:solidFill>
              </a:rPr>
              <a:t> Scope TDS</a:t>
            </a:r>
            <a:endParaRPr lang="en-US" kern="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374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Black Liquor Propertie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8580" y="595103"/>
            <a:ext cx="3285609" cy="1613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661247" y="606844"/>
            <a:ext cx="5722546" cy="3359380"/>
            <a:chOff x="5440259" y="1274428"/>
            <a:chExt cx="6145339" cy="3543300"/>
          </a:xfrm>
        </p:grpSpPr>
        <p:grpSp>
          <p:nvGrpSpPr>
            <p:cNvPr id="5" name="Group 4"/>
            <p:cNvGrpSpPr/>
            <p:nvPr/>
          </p:nvGrpSpPr>
          <p:grpSpPr>
            <a:xfrm>
              <a:off x="5440259" y="1274428"/>
              <a:ext cx="4736900" cy="3543300"/>
              <a:chOff x="5440259" y="1274428"/>
              <a:chExt cx="4736900" cy="3543300"/>
            </a:xfrm>
          </p:grpSpPr>
          <p:pic>
            <p:nvPicPr>
              <p:cNvPr id="25602" name="Picture 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40259" y="1274428"/>
                <a:ext cx="4438650" cy="3543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" name="Right Brace 3"/>
              <p:cNvSpPr/>
              <p:nvPr/>
            </p:nvSpPr>
            <p:spPr bwMode="auto">
              <a:xfrm>
                <a:off x="9475153" y="2025534"/>
                <a:ext cx="702006" cy="1430186"/>
              </a:xfrm>
              <a:prstGeom prst="rightBrace">
                <a:avLst/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itchFamily="34" charset="0"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SimSun" pitchFamily="2" charset="-122"/>
                </a:endParaRPr>
              </a:p>
            </p:txBody>
          </p:sp>
        </p:grpSp>
        <p:sp>
          <p:nvSpPr>
            <p:cNvPr id="12" name="Right Brace 11"/>
            <p:cNvSpPr/>
            <p:nvPr/>
          </p:nvSpPr>
          <p:spPr bwMode="auto">
            <a:xfrm>
              <a:off x="9474532" y="3631869"/>
              <a:ext cx="690004" cy="346365"/>
            </a:xfrm>
            <a:prstGeom prst="rightBrace">
              <a:avLst/>
            </a:prstGeom>
            <a:noFill/>
            <a:ln w="1905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endParaRPr kumimoji="0" lang="en-US" sz="1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endParaRPr>
            </a:p>
          </p:txBody>
        </p:sp>
        <p:sp>
          <p:nvSpPr>
            <p:cNvPr id="13" name="Title 1">
              <a:extLst>
                <a:ext uri="{FF2B5EF4-FFF2-40B4-BE49-F238E27FC236}">
                  <a16:creationId xmlns:a16="http://schemas.microsoft.com/office/drawing/2014/main" xmlns="" id="{74DAC47A-E340-45D5-AB37-EC902BF9E58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265000" y="2609155"/>
              <a:ext cx="1320598" cy="215444"/>
            </a:xfrm>
            <a:prstGeom prst="rect">
              <a:avLst/>
            </a:prstGeom>
            <a:noFill/>
            <a:ln w="9525">
              <a:noFill/>
              <a:bevel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+mj-lt"/>
                  <a:ea typeface="+mj-ea"/>
                  <a:cs typeface="+mj-cs"/>
                  <a:sym typeface="Arial Unicode MS" pitchFamily="34" charset="-128"/>
                </a:defRPr>
              </a:lvl1pPr>
              <a:lvl2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2pPr>
              <a:lvl3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3pPr>
              <a:lvl4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4pPr>
              <a:lvl5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5pPr>
              <a:lvl6pPr marL="13716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6pPr>
              <a:lvl7pPr marL="18288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7pPr>
              <a:lvl8pPr marL="22860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8pPr>
              <a:lvl9pPr marL="27432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9pPr>
            </a:lstStyle>
            <a:p>
              <a:pPr>
                <a:buFontTx/>
              </a:pPr>
              <a:r>
                <a:rPr lang="en-US" sz="1400" kern="0" dirty="0" smtClean="0">
                  <a:solidFill>
                    <a:schemeClr val="accent2">
                      <a:lumMod val="75000"/>
                    </a:schemeClr>
                  </a:solidFill>
                </a:rPr>
                <a:t>Inorganics</a:t>
              </a:r>
              <a:endParaRPr lang="en-US" sz="1400" kern="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sp>
          <p:nvSpPr>
            <p:cNvPr id="14" name="Title 1">
              <a:extLst>
                <a:ext uri="{FF2B5EF4-FFF2-40B4-BE49-F238E27FC236}">
                  <a16:creationId xmlns:a16="http://schemas.microsoft.com/office/drawing/2014/main" xmlns="" id="{74DAC47A-E340-45D5-AB37-EC902BF9E58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265000" y="3697329"/>
              <a:ext cx="1320598" cy="215444"/>
            </a:xfrm>
            <a:prstGeom prst="rect">
              <a:avLst/>
            </a:prstGeom>
            <a:noFill/>
            <a:ln w="9525">
              <a:noFill/>
              <a:bevel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+mj-lt"/>
                  <a:ea typeface="+mj-ea"/>
                  <a:cs typeface="+mj-cs"/>
                  <a:sym typeface="Arial Unicode MS" pitchFamily="34" charset="-128"/>
                </a:defRPr>
              </a:lvl1pPr>
              <a:lvl2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2pPr>
              <a:lvl3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3pPr>
              <a:lvl4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4pPr>
              <a:lvl5pPr marL="914400" indent="-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5pPr>
              <a:lvl6pPr marL="13716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6pPr>
              <a:lvl7pPr marL="18288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7pPr>
              <a:lvl8pPr marL="22860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8pPr>
              <a:lvl9pPr marL="2743200" indent="-914400" algn="l" rtl="0" fontAlgn="base">
                <a:spcBef>
                  <a:spcPct val="0"/>
                </a:spcBef>
                <a:spcAft>
                  <a:spcPct val="0"/>
                </a:spcAft>
                <a:defRPr sz="2200" b="1">
                  <a:solidFill>
                    <a:schemeClr val="tx2"/>
                  </a:solidFill>
                  <a:latin typeface="Calibri" pitchFamily="34" charset="0"/>
                  <a:ea typeface="Arial Unicode MS" pitchFamily="34" charset="-128"/>
                  <a:cs typeface="Arial Unicode MS" pitchFamily="34" charset="-128"/>
                  <a:sym typeface="Arial Unicode MS" pitchFamily="34" charset="-128"/>
                </a:defRPr>
              </a:lvl9pPr>
            </a:lstStyle>
            <a:p>
              <a:pPr>
                <a:buFontTx/>
              </a:pPr>
              <a:r>
                <a:rPr lang="en-US" sz="1400" kern="0" dirty="0" smtClean="0">
                  <a:solidFill>
                    <a:schemeClr val="tx1"/>
                  </a:solidFill>
                </a:rPr>
                <a:t>Organics</a:t>
              </a:r>
              <a:endParaRPr lang="en-US" sz="1400" kern="0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903642"/>
              </p:ext>
            </p:extLst>
          </p:nvPr>
        </p:nvGraphicFramePr>
        <p:xfrm>
          <a:off x="575976" y="4102125"/>
          <a:ext cx="5517429" cy="19810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6877"/>
                <a:gridCol w="349064"/>
                <a:gridCol w="570186"/>
                <a:gridCol w="570186"/>
                <a:gridCol w="570186"/>
                <a:gridCol w="570186"/>
                <a:gridCol w="570186"/>
                <a:gridCol w="570186"/>
                <a:gridCol w="570186"/>
                <a:gridCol w="570186"/>
              </a:tblGrid>
              <a:tr h="144232">
                <a:tc gridSpan="10"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smtClean="0">
                          <a:effectLst/>
                        </a:rPr>
                        <a:t>Liquors Properties</a:t>
                      </a:r>
                      <a:r>
                        <a:rPr lang="en-US" sz="1400" b="1" u="none" strike="noStrike" baseline="0" dirty="0" smtClean="0">
                          <a:effectLst/>
                        </a:rPr>
                        <a:t> in</a:t>
                      </a:r>
                      <a:r>
                        <a:rPr lang="en-US" sz="1400" b="1" u="none" strike="noStrike" dirty="0" smtClean="0">
                          <a:effectLst/>
                        </a:rPr>
                        <a:t> Mill 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/>
                </a:tc>
              </a:tr>
              <a:tr h="78592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effectLst/>
                          <a:latin typeface="Arial"/>
                        </a:rPr>
                        <a:t>Area</a:t>
                      </a:r>
                      <a:endParaRPr lang="en-US" sz="11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Total Solid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ensity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Organic </a:t>
                      </a:r>
                      <a:r>
                        <a:rPr lang="en-US" sz="1000" u="none" strike="noStrike" dirty="0" smtClean="0">
                          <a:effectLst/>
                        </a:rPr>
                        <a:t>Content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Caloric Value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Na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K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CL-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</a:tr>
              <a:tr h="65996">
                <a:tc gridSpan="2" v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g/cm3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Temp C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 DB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err="1">
                          <a:effectLst/>
                        </a:rPr>
                        <a:t>KCal</a:t>
                      </a:r>
                      <a:r>
                        <a:rPr lang="en-US" sz="1000" u="none" strike="noStrike" dirty="0">
                          <a:effectLst/>
                        </a:rPr>
                        <a:t>/Kg 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(DB)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 DB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 DB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% DB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0404"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4538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WBL FL-8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</a:rPr>
                        <a:t>15.7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.09</a:t>
                      </a:r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29.96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62.3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3333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8.74</a:t>
                      </a:r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.59</a:t>
                      </a:r>
                      <a:endParaRPr 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56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noFill/>
                  </a:tcPr>
                </a:tc>
              </a:tr>
              <a:tr h="4538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HBL VE-12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</a:rPr>
                        <a:t>75.1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1.51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29.48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62.3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3325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19.89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1.96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64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6659" marR="6659" marT="6659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3150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244536" y="4136365"/>
            <a:ext cx="3521004" cy="306656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495" y="112555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Black Liquor Propertie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2" r="3935" b="-1"/>
          <a:stretch/>
        </p:blipFill>
        <p:spPr bwMode="auto">
          <a:xfrm>
            <a:off x="717967" y="590031"/>
            <a:ext cx="4622687" cy="3528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5560508" y="1124028"/>
            <a:ext cx="6390487" cy="1077218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solid content increases, the </a:t>
            </a:r>
            <a:r>
              <a:rPr lang="en-US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cosity increases sharply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higher temperatures, </a:t>
            </a:r>
            <a:r>
              <a:rPr lang="en-US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viscosity is lower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he same solids conten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means heating the BL can help reduce viscosity, which is important for pump to spray gun.</a:t>
            </a:r>
            <a:endParaRPr lang="en-US" sz="1800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82014" y="4115098"/>
            <a:ext cx="33027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How To Reduction </a:t>
            </a:r>
            <a:r>
              <a:rPr lang="en-US" b="1" dirty="0">
                <a:solidFill>
                  <a:schemeClr val="bg1"/>
                </a:solidFill>
              </a:rPr>
              <a:t>of Viscosity :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683569" y="4507668"/>
            <a:ext cx="9140892" cy="2000548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 algn="just"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increasing temperature of the liquor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fore in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case, strong black liquor temperature is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llowed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elow 90°C to avoid transport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storage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s. Normally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O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°C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~ 120°C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pt for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raying black liquor at recovery furnace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of Concentration, </a:t>
            </a:r>
            <a:r>
              <a:rPr lang="en-US" sz="14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fore </a:t>
            </a:r>
            <a:r>
              <a:rPr lang="en-US" sz="14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ing solid content is not attempted with a view to decrease viscosity</a:t>
            </a:r>
            <a:r>
              <a:rPr lang="en-US" sz="14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 residual alkali,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 has already been done to increase the residual alkali of black liquor for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d wood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The data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e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how residue active alkali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the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cosity. It is also suggested that 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um residual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 </a:t>
            </a:r>
            <a:r>
              <a:rPr lang="en-US" sz="1400" b="0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aIi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sz="14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 maintained is </a:t>
            </a: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en-US" sz="1400" kern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pl</a:t>
            </a:r>
            <a:r>
              <a:rPr lang="en-US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b="0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Ray, </a:t>
            </a:r>
            <a:r>
              <a:rPr lang="en-US" sz="1400" b="0" i="1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kk</a:t>
            </a:r>
            <a:r>
              <a:rPr lang="en-US" sz="1400" b="0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 1992</a:t>
            </a:r>
            <a:r>
              <a:rPr lang="en-US" sz="1400" b="0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400" b="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§"/>
            </a:pPr>
            <a:endParaRPr lang="en-US" sz="1800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910063" y="3435084"/>
            <a:ext cx="3521004" cy="4571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61342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/>
        </p:nvCxnSpPr>
        <p:spPr bwMode="auto">
          <a:xfrm>
            <a:off x="3931722" y="3812753"/>
            <a:ext cx="0" cy="51025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/>
          <p:cNvCxnSpPr/>
          <p:nvPr/>
        </p:nvCxnSpPr>
        <p:spPr bwMode="auto">
          <a:xfrm>
            <a:off x="3007426" y="3812753"/>
            <a:ext cx="0" cy="51025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>
            <a:off x="3007426" y="2111161"/>
            <a:ext cx="14953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Arrow Connector 8"/>
          <p:cNvCxnSpPr/>
          <p:nvPr/>
        </p:nvCxnSpPr>
        <p:spPr>
          <a:xfrm>
            <a:off x="1045029" y="3600354"/>
            <a:ext cx="1565308" cy="0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3071996" y="3628408"/>
            <a:ext cx="989121" cy="0"/>
          </a:xfrm>
          <a:prstGeom prst="straightConnector1">
            <a:avLst/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TDS Flowchart </a:t>
            </a:r>
            <a:r>
              <a:rPr lang="en-US" dirty="0" err="1" smtClean="0">
                <a:solidFill>
                  <a:schemeClr val="accent2">
                    <a:lumMod val="75000"/>
                  </a:schemeClr>
                </a:solidFill>
              </a:rPr>
              <a:t>Perawang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 Mill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532" y="894005"/>
            <a:ext cx="873039" cy="3429000"/>
          </a:xfrm>
          <a:prstGeom prst="rect">
            <a:avLst/>
          </a:prstGeom>
        </p:spPr>
      </p:pic>
      <p:sp>
        <p:nvSpPr>
          <p:cNvPr id="10" name="Can 9"/>
          <p:cNvSpPr/>
          <p:nvPr/>
        </p:nvSpPr>
        <p:spPr bwMode="auto">
          <a:xfrm>
            <a:off x="2642261" y="2699871"/>
            <a:ext cx="730331" cy="1140031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1" name="Can 10"/>
          <p:cNvSpPr/>
          <p:nvPr/>
        </p:nvSpPr>
        <p:spPr bwMode="auto">
          <a:xfrm>
            <a:off x="3566557" y="2699871"/>
            <a:ext cx="730331" cy="1140031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4" name="Can 13"/>
          <p:cNvSpPr/>
          <p:nvPr/>
        </p:nvSpPr>
        <p:spPr bwMode="auto">
          <a:xfrm>
            <a:off x="4441361" y="1458018"/>
            <a:ext cx="730331" cy="793454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3931722" y="2111161"/>
            <a:ext cx="742" cy="560635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3007426" y="2111161"/>
            <a:ext cx="0" cy="588710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 bwMode="auto">
          <a:xfrm>
            <a:off x="3007426" y="4323005"/>
            <a:ext cx="238397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24" t="28317" r="51559" b="38928"/>
          <a:stretch/>
        </p:blipFill>
        <p:spPr bwMode="auto">
          <a:xfrm>
            <a:off x="5721449" y="2251472"/>
            <a:ext cx="786230" cy="2087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2" name="Straight Arrow Connector 31"/>
          <p:cNvCxnSpPr/>
          <p:nvPr/>
        </p:nvCxnSpPr>
        <p:spPr>
          <a:xfrm>
            <a:off x="5389923" y="3057655"/>
            <a:ext cx="497778" cy="0"/>
          </a:xfrm>
          <a:prstGeom prst="straightConnector1">
            <a:avLst/>
          </a:prstGeom>
          <a:ln w="5715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 bwMode="auto">
          <a:xfrm>
            <a:off x="5389923" y="3057655"/>
            <a:ext cx="0" cy="1281397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 flipH="1">
            <a:off x="6391491" y="3676430"/>
            <a:ext cx="85213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/>
          <p:cNvCxnSpPr/>
          <p:nvPr/>
        </p:nvCxnSpPr>
        <p:spPr bwMode="auto">
          <a:xfrm>
            <a:off x="7243621" y="2127208"/>
            <a:ext cx="1" cy="1548919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/>
        </p:nvCxnSpPr>
        <p:spPr bwMode="auto">
          <a:xfrm>
            <a:off x="7243622" y="2111161"/>
            <a:ext cx="1365988" cy="1206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Arrow Connector 51"/>
          <p:cNvCxnSpPr/>
          <p:nvPr/>
        </p:nvCxnSpPr>
        <p:spPr>
          <a:xfrm>
            <a:off x="8609610" y="2127208"/>
            <a:ext cx="742" cy="560635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7771169" y="2127208"/>
            <a:ext cx="0" cy="588710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Can 53"/>
          <p:cNvSpPr/>
          <p:nvPr/>
        </p:nvSpPr>
        <p:spPr bwMode="auto">
          <a:xfrm>
            <a:off x="7404764" y="2697171"/>
            <a:ext cx="730331" cy="1140031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5" name="Can 54"/>
          <p:cNvSpPr/>
          <p:nvPr/>
        </p:nvSpPr>
        <p:spPr bwMode="auto">
          <a:xfrm>
            <a:off x="8329802" y="2687843"/>
            <a:ext cx="730331" cy="1140031"/>
          </a:xfrm>
          <a:prstGeom prst="ca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254862" y="561496"/>
            <a:ext cx="1239970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Fiberline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2901512" y="1700365"/>
            <a:ext cx="1395376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WBL Stock</a:t>
            </a:r>
          </a:p>
        </p:txBody>
      </p:sp>
      <p:sp>
        <p:nvSpPr>
          <p:cNvPr id="67" name="Rectangle 66"/>
          <p:cNvSpPr/>
          <p:nvPr/>
        </p:nvSpPr>
        <p:spPr bwMode="auto">
          <a:xfrm>
            <a:off x="5464937" y="1865284"/>
            <a:ext cx="1299254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VE Process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7348213" y="1747864"/>
            <a:ext cx="1299254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HBL Stock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10468046" y="1814464"/>
            <a:ext cx="1299254" cy="30875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RB</a:t>
            </a:r>
            <a:r>
              <a:rPr kumimoji="0" lang="en-US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rPr>
              <a:t> Firing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pic>
        <p:nvPicPr>
          <p:cNvPr id="31746" name="Picture 2" descr="Recovery Furnace - an overview | ScienceDirect Topic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6748" y="2275222"/>
            <a:ext cx="2221851" cy="1709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1" name="Straight Connector 70"/>
          <p:cNvCxnSpPr/>
          <p:nvPr/>
        </p:nvCxnSpPr>
        <p:spPr bwMode="auto">
          <a:xfrm flipH="1">
            <a:off x="9060133" y="3628408"/>
            <a:ext cx="618257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 bwMode="auto">
          <a:xfrm>
            <a:off x="9678390" y="2941748"/>
            <a:ext cx="1" cy="68666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Arrow Connector 57"/>
          <p:cNvCxnSpPr/>
          <p:nvPr/>
        </p:nvCxnSpPr>
        <p:spPr>
          <a:xfrm>
            <a:off x="9678391" y="2934297"/>
            <a:ext cx="306461" cy="7451"/>
          </a:xfrm>
          <a:prstGeom prst="straightConnector1">
            <a:avLst/>
          </a:prstGeom>
          <a:ln w="38100"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 flipV="1">
            <a:off x="1724664" y="3643031"/>
            <a:ext cx="0" cy="438195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 flipV="1">
            <a:off x="4487652" y="4323005"/>
            <a:ext cx="0" cy="438195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flipV="1">
            <a:off x="6955743" y="3698353"/>
            <a:ext cx="0" cy="438195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1188804" y="4100924"/>
            <a:ext cx="1119217" cy="261610"/>
          </a:xfrm>
          <a:prstGeom prst="rect">
            <a:avLst/>
          </a:prstGeom>
          <a:solidFill>
            <a:srgbClr val="20A3FC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Sampling point</a:t>
            </a:r>
            <a:endParaRPr lang="en-US" sz="1100" dirty="0"/>
          </a:p>
        </p:txBody>
      </p:sp>
      <p:sp>
        <p:nvSpPr>
          <p:cNvPr id="88" name="TextBox 87"/>
          <p:cNvSpPr txBox="1"/>
          <p:nvPr/>
        </p:nvSpPr>
        <p:spPr>
          <a:xfrm>
            <a:off x="4034154" y="4763509"/>
            <a:ext cx="1119217" cy="261610"/>
          </a:xfrm>
          <a:prstGeom prst="rect">
            <a:avLst/>
          </a:prstGeom>
          <a:solidFill>
            <a:srgbClr val="20A3FC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Sampling point</a:t>
            </a:r>
            <a:endParaRPr lang="en-US" sz="1100" dirty="0"/>
          </a:p>
        </p:txBody>
      </p:sp>
      <p:sp>
        <p:nvSpPr>
          <p:cNvPr id="89" name="TextBox 88"/>
          <p:cNvSpPr txBox="1"/>
          <p:nvPr/>
        </p:nvSpPr>
        <p:spPr>
          <a:xfrm>
            <a:off x="6507679" y="4148424"/>
            <a:ext cx="1119217" cy="261610"/>
          </a:xfrm>
          <a:prstGeom prst="rect">
            <a:avLst/>
          </a:prstGeom>
          <a:solidFill>
            <a:srgbClr val="20A3FC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Sampling point</a:t>
            </a:r>
            <a:endParaRPr lang="en-US" sz="1100" dirty="0"/>
          </a:p>
        </p:txBody>
      </p:sp>
      <p:cxnSp>
        <p:nvCxnSpPr>
          <p:cNvPr id="90" name="Straight Arrow Connector 89"/>
          <p:cNvCxnSpPr/>
          <p:nvPr/>
        </p:nvCxnSpPr>
        <p:spPr>
          <a:xfrm flipV="1">
            <a:off x="9572292" y="3641559"/>
            <a:ext cx="0" cy="438195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9172605" y="4081226"/>
            <a:ext cx="1119217" cy="261610"/>
          </a:xfrm>
          <a:prstGeom prst="rect">
            <a:avLst/>
          </a:prstGeom>
          <a:solidFill>
            <a:srgbClr val="20A3FC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Sampling point</a:t>
            </a:r>
            <a:endParaRPr lang="en-US" sz="1100" dirty="0"/>
          </a:p>
        </p:txBody>
      </p:sp>
      <p:graphicFrame>
        <p:nvGraphicFramePr>
          <p:cNvPr id="92" name="Table 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5299659"/>
              </p:ext>
            </p:extLst>
          </p:nvPr>
        </p:nvGraphicFramePr>
        <p:xfrm>
          <a:off x="1188804" y="4410034"/>
          <a:ext cx="2160038" cy="1033485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797482"/>
                <a:gridCol w="208280"/>
                <a:gridCol w="545044"/>
                <a:gridCol w="609232"/>
              </a:tblGrid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WBL volume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A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82,194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m</a:t>
                      </a:r>
                      <a:r>
                        <a:rPr lang="en-US" sz="900" b="1" baseline="30000" dirty="0" smtClean="0"/>
                        <a:t>3</a:t>
                      </a:r>
                      <a:endParaRPr lang="en-US" sz="9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otal Soli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B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14.10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%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C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2,170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 Ratio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-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.35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/</a:t>
                      </a:r>
                      <a:r>
                        <a:rPr lang="en-US" sz="900" b="1" dirty="0" err="1" smtClean="0"/>
                        <a:t>Adt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5" name="Table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158485"/>
              </p:ext>
            </p:extLst>
          </p:nvPr>
        </p:nvGraphicFramePr>
        <p:xfrm>
          <a:off x="4051951" y="5061524"/>
          <a:ext cx="1945080" cy="76519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734999"/>
                <a:gridCol w="270763"/>
                <a:gridCol w="545044"/>
                <a:gridCol w="394274"/>
              </a:tblGrid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WBL Fee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25,105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m</a:t>
                      </a:r>
                      <a:r>
                        <a:rPr lang="en-US" sz="900" b="1" baseline="30000" dirty="0" smtClean="0"/>
                        <a:t>3</a:t>
                      </a:r>
                      <a:endParaRPr lang="en-US" sz="9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otal</a:t>
                      </a:r>
                      <a:r>
                        <a:rPr lang="en-US" sz="900" b="1" baseline="0" dirty="0" smtClean="0"/>
                        <a:t> Soli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E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4.13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%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F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3,717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6" name="Table 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3762637"/>
              </p:ext>
            </p:extLst>
          </p:nvPr>
        </p:nvGraphicFramePr>
        <p:xfrm>
          <a:off x="6507679" y="4433784"/>
          <a:ext cx="1935677" cy="76519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797482"/>
                <a:gridCol w="208280"/>
                <a:gridCol w="545044"/>
                <a:gridCol w="384871"/>
              </a:tblGrid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HBL Product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G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1,168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m</a:t>
                      </a:r>
                      <a:r>
                        <a:rPr lang="en-US" sz="900" b="1" baseline="30000" dirty="0" smtClean="0"/>
                        <a:t>3</a:t>
                      </a:r>
                      <a:endParaRPr lang="en-US" sz="9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otal Soli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H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76.1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%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I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11,081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7" name="Table 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9226614"/>
              </p:ext>
            </p:extLst>
          </p:nvPr>
        </p:nvGraphicFramePr>
        <p:xfrm>
          <a:off x="9172605" y="4362533"/>
          <a:ext cx="2904595" cy="145099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957042"/>
                <a:gridCol w="261257"/>
                <a:gridCol w="570015"/>
                <a:gridCol w="1116281"/>
              </a:tblGrid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HBL Firing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J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3,461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m</a:t>
                      </a:r>
                      <a:r>
                        <a:rPr lang="en-US" sz="900" b="1" baseline="30000" dirty="0" smtClean="0"/>
                        <a:t>3</a:t>
                      </a:r>
                      <a:endParaRPr lang="en-US" sz="9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68295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emp HBL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K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/>
                        <a:t>132.5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baseline="30000" dirty="0" err="1" smtClean="0"/>
                        <a:t>o</a:t>
                      </a:r>
                      <a:r>
                        <a:rPr lang="en-US" sz="900" b="1" baseline="0" dirty="0" err="1" smtClean="0"/>
                        <a:t>C</a:t>
                      </a:r>
                      <a:endParaRPr lang="en-US" sz="900" b="1" baseline="30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Total</a:t>
                      </a:r>
                      <a:r>
                        <a:rPr lang="en-US" sz="900" b="1" baseline="0" dirty="0" smtClean="0">
                          <a:solidFill>
                            <a:schemeClr val="dk1"/>
                          </a:solidFill>
                        </a:rPr>
                        <a:t> Solid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L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75.0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dk1"/>
                          </a:solidFill>
                        </a:rPr>
                        <a:t>%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14,703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 Ratio Wet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N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1.45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/</a:t>
                      </a:r>
                      <a:r>
                        <a:rPr lang="en-US" sz="900" b="1" dirty="0" err="1" smtClean="0">
                          <a:solidFill>
                            <a:schemeClr val="tx1"/>
                          </a:solidFill>
                        </a:rPr>
                        <a:t>Adt</a:t>
                      </a:r>
                      <a:r>
                        <a:rPr lang="en-US" sz="900" b="1" baseline="0" dirty="0" smtClean="0">
                          <a:solidFill>
                            <a:schemeClr val="tx1"/>
                          </a:solidFill>
                        </a:rPr>
                        <a:t> Wet Pulp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212104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 Ratio HTW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1.45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TDS/</a:t>
                      </a:r>
                      <a:r>
                        <a:rPr lang="en-US" sz="900" b="1" dirty="0" err="1" smtClean="0">
                          <a:solidFill>
                            <a:schemeClr val="tx1"/>
                          </a:solidFill>
                        </a:rPr>
                        <a:t>Adt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 HTW Pulp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98" name="TextBox 97"/>
          <p:cNvSpPr txBox="1"/>
          <p:nvPr/>
        </p:nvSpPr>
        <p:spPr>
          <a:xfrm>
            <a:off x="1138428" y="5488358"/>
            <a:ext cx="2587568" cy="24622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C = A * %B * (1+0.0062 * B – 0.0005 * 80)</a:t>
            </a:r>
            <a:endParaRPr lang="en-US" sz="1000" b="1" dirty="0"/>
          </a:p>
        </p:txBody>
      </p:sp>
      <p:sp>
        <p:nvSpPr>
          <p:cNvPr id="102" name="TextBox 101"/>
          <p:cNvSpPr txBox="1"/>
          <p:nvPr/>
        </p:nvSpPr>
        <p:spPr>
          <a:xfrm>
            <a:off x="4043618" y="5896098"/>
            <a:ext cx="2557110" cy="24622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F = D * %E * (1+0.0062 * E – 0.0005 * 80)</a:t>
            </a:r>
            <a:endParaRPr lang="en-US" sz="1000" b="1" dirty="0"/>
          </a:p>
        </p:txBody>
      </p:sp>
      <p:sp>
        <p:nvSpPr>
          <p:cNvPr id="103" name="TextBox 102"/>
          <p:cNvSpPr txBox="1"/>
          <p:nvPr/>
        </p:nvSpPr>
        <p:spPr>
          <a:xfrm>
            <a:off x="6507043" y="5238623"/>
            <a:ext cx="2523447" cy="24622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I = G*%H*(1+0.0062*H-0.0005*120)*0.92</a:t>
            </a:r>
            <a:endParaRPr lang="en-US" sz="1000" b="1" dirty="0"/>
          </a:p>
        </p:txBody>
      </p:sp>
      <p:sp>
        <p:nvSpPr>
          <p:cNvPr id="104" name="TextBox 103"/>
          <p:cNvSpPr txBox="1"/>
          <p:nvPr/>
        </p:nvSpPr>
        <p:spPr>
          <a:xfrm>
            <a:off x="9177210" y="5848788"/>
            <a:ext cx="2419253" cy="24622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M = J*%L*(1+0.0062*L-0.0005*K)*0.92</a:t>
            </a:r>
            <a:endParaRPr lang="en-US" sz="1000" b="1" dirty="0"/>
          </a:p>
        </p:txBody>
      </p:sp>
      <p:sp>
        <p:nvSpPr>
          <p:cNvPr id="94" name="TextBox 93"/>
          <p:cNvSpPr txBox="1"/>
          <p:nvPr/>
        </p:nvSpPr>
        <p:spPr>
          <a:xfrm>
            <a:off x="911301" y="966285"/>
            <a:ext cx="11737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Pulp Production</a:t>
            </a:r>
            <a:endParaRPr lang="en-US" sz="1000" b="1" dirty="0"/>
          </a:p>
        </p:txBody>
      </p:sp>
      <p:sp>
        <p:nvSpPr>
          <p:cNvPr id="107" name="TextBox 106"/>
          <p:cNvSpPr txBox="1"/>
          <p:nvPr/>
        </p:nvSpPr>
        <p:spPr>
          <a:xfrm>
            <a:off x="1291692" y="1160454"/>
            <a:ext cx="8659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9,024  Wet</a:t>
            </a:r>
          </a:p>
          <a:p>
            <a:r>
              <a:rPr lang="en-US" sz="1000" b="1" dirty="0" smtClean="0"/>
              <a:t>8,981  HTW</a:t>
            </a:r>
            <a:endParaRPr lang="en-US" sz="1000" b="1" dirty="0"/>
          </a:p>
        </p:txBody>
      </p:sp>
      <p:sp>
        <p:nvSpPr>
          <p:cNvPr id="108" name="TextBox 107"/>
          <p:cNvSpPr txBox="1"/>
          <p:nvPr/>
        </p:nvSpPr>
        <p:spPr>
          <a:xfrm>
            <a:off x="254862" y="6231983"/>
            <a:ext cx="38122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Note : </a:t>
            </a:r>
          </a:p>
          <a:p>
            <a:r>
              <a:rPr lang="en-US" sz="1000" b="1" dirty="0" smtClean="0"/>
              <a:t>Density = (1+0.0062*Total Solid(%) – 0.0005*Temperature)</a:t>
            </a:r>
            <a:endParaRPr lang="en-US" sz="1000" b="1" dirty="0"/>
          </a:p>
        </p:txBody>
      </p:sp>
      <p:sp>
        <p:nvSpPr>
          <p:cNvPr id="106" name="Oval 105"/>
          <p:cNvSpPr/>
          <p:nvPr/>
        </p:nvSpPr>
        <p:spPr bwMode="auto">
          <a:xfrm>
            <a:off x="8949790" y="5827899"/>
            <a:ext cx="280153" cy="290670"/>
          </a:xfrm>
          <a:prstGeom prst="ellipse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1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942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862" y="123188"/>
            <a:ext cx="3755041" cy="338554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Breakdown Calculation TD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4404" y="587544"/>
            <a:ext cx="11799065" cy="5742003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>
              <a:lnSpc>
                <a:spcPct val="150000"/>
              </a:lnSpc>
            </a:pP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HPD </a:t>
            </a:r>
            <a:r>
              <a:rPr lang="en-ID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rmula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    : Flow </a:t>
            </a:r>
            <a:r>
              <a:rPr lang="en-ID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BL M3 x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S/100 x density x </a:t>
            </a:r>
            <a:r>
              <a:rPr lang="en-ID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.92 x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4</a:t>
            </a:r>
            <a:endParaRPr lang="en-ID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ID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ID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el-GR" sz="1400" dirty="0" smtClean="0">
                <a:solidFill>
                  <a:srgbClr val="000000"/>
                </a:solidFill>
                <a:latin typeface="Arial"/>
                <a:cs typeface="Arial"/>
              </a:rPr>
              <a:t>ρ</a:t>
            </a:r>
            <a:r>
              <a:rPr lang="en-US" sz="1400" dirty="0" smtClean="0">
                <a:solidFill>
                  <a:srgbClr val="000000"/>
                </a:solidFill>
                <a:latin typeface="Arial"/>
                <a:cs typeface="Arial"/>
              </a:rPr>
              <a:t> / </a:t>
            </a:r>
            <a:r>
              <a:rPr lang="en-US" sz="1400" dirty="0" err="1" smtClean="0">
                <a:solidFill>
                  <a:srgbClr val="000000"/>
                </a:solidFill>
                <a:latin typeface="Arial"/>
                <a:cs typeface="Arial"/>
              </a:rPr>
              <a:t>SpGr</a:t>
            </a:r>
            <a:r>
              <a:rPr lang="en-US" sz="1400" dirty="0" smtClean="0">
                <a:solidFill>
                  <a:srgbClr val="000000"/>
                </a:solidFill>
                <a:latin typeface="Arial"/>
                <a:cs typeface="Arial"/>
              </a:rPr>
              <a:t> formula   :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TS x 6.2 + 1000 – Temperature HBL / 2) / 1000</a:t>
            </a:r>
          </a:p>
          <a:p>
            <a:pPr>
              <a:lnSpc>
                <a:spcPct val="150000"/>
              </a:lnSpc>
            </a:pP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      Constanta 0.92     : Solid 92 % (Ash 8%)</a:t>
            </a:r>
          </a:p>
          <a:p>
            <a:pPr>
              <a:lnSpc>
                <a:spcPct val="150000"/>
              </a:lnSpc>
            </a:pPr>
            <a:r>
              <a:rPr lang="en-ID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     Time Calculation   : 24 Hours</a:t>
            </a:r>
          </a:p>
          <a:p>
            <a:pPr>
              <a:lnSpc>
                <a:spcPct val="150000"/>
              </a:lnSpc>
            </a:pPr>
            <a:r>
              <a:rPr lang="en-ID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ID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     TS  (%)                  : Total Solid based on Lab results</a:t>
            </a:r>
          </a:p>
          <a:p>
            <a:pPr>
              <a:lnSpc>
                <a:spcPct val="150000"/>
              </a:lnSpc>
            </a:pPr>
            <a:endParaRPr lang="en-ID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endParaRPr lang="en-ID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ID" sz="12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ID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xample  RB 6 : 11 Dec 2024</a:t>
            </a:r>
          </a:p>
          <a:p>
            <a:endParaRPr lang="en-ID" sz="13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low HBL		: 164 M</a:t>
            </a:r>
            <a:r>
              <a:rPr lang="en-ID" sz="1300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n-ID" sz="13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r</a:t>
            </a:r>
            <a:endParaRPr lang="en-ID" sz="13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S		: 73.6%</a:t>
            </a:r>
          </a:p>
          <a:p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mp. HBL		: 134.2 </a:t>
            </a:r>
            <a:r>
              <a:rPr lang="en-ID" sz="1300" baseline="30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</a:t>
            </a:r>
            <a:r>
              <a:rPr lang="en-ID" sz="13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ID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endParaRPr lang="en-ID" sz="13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ID" sz="13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lculate		</a:t>
            </a:r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164 x (73.6/100) x (73.6 x6.2+1000 – 134.2/2)/1000) x 0.92 x 24</a:t>
            </a:r>
          </a:p>
          <a:p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	: 164 x (73.6/100) x </a:t>
            </a:r>
            <a:r>
              <a:rPr lang="en-ID" sz="13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,389 </a:t>
            </a:r>
            <a:r>
              <a:rPr lang="en-ID" sz="13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 1000 x 0.92 x 24 = </a:t>
            </a:r>
            <a:r>
              <a:rPr lang="en-ID" sz="13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3,702 TDS</a:t>
            </a:r>
          </a:p>
          <a:p>
            <a:endParaRPr lang="en-ID" sz="13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ID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05" y="2930299"/>
            <a:ext cx="4201597" cy="1050834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>
              <a:lnSpc>
                <a:spcPct val="150000"/>
              </a:lnSpc>
            </a:pP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marks :</a:t>
            </a:r>
          </a:p>
          <a:p>
            <a:pPr>
              <a:lnSpc>
                <a:spcPct val="150000"/>
              </a:lnSpc>
            </a:pP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lack </a:t>
            </a:r>
            <a:r>
              <a:rPr lang="en-US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quor density can be determined using </a:t>
            </a:r>
            <a:r>
              <a:rPr lang="en-US" sz="1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otal</a:t>
            </a: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solid (%)</a:t>
            </a: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emperature (</a:t>
            </a:r>
            <a:r>
              <a:rPr lang="en-US" sz="1400" b="1" i="1" baseline="300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o</a:t>
            </a:r>
            <a:r>
              <a:rPr lang="en-US" sz="1400" b="1" i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US" sz="1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correlation.</a:t>
            </a:r>
            <a:endParaRPr lang="en-ID" sz="1200" b="1" i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277525" y="2063402"/>
            <a:ext cx="591991" cy="1187533"/>
            <a:chOff x="7351709" y="1647766"/>
            <a:chExt cx="591991" cy="1187533"/>
          </a:xfrm>
        </p:grpSpPr>
        <p:sp>
          <p:nvSpPr>
            <p:cNvPr id="3" name="Rectangle 2"/>
            <p:cNvSpPr/>
            <p:nvPr/>
          </p:nvSpPr>
          <p:spPr bwMode="auto">
            <a:xfrm rot="486046">
              <a:off x="7351709" y="2099029"/>
              <a:ext cx="468187" cy="736270"/>
            </a:xfrm>
            <a:prstGeom prst="rect">
              <a:avLst/>
            </a:prstGeom>
            <a:solidFill>
              <a:srgbClr val="FF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endParaRPr kumimoji="0" lang="en-US" sz="1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351709" y="1647766"/>
              <a:ext cx="591991" cy="902526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>
                <a:lnSpc>
                  <a:spcPct val="150000"/>
                </a:lnSpc>
              </a:pPr>
              <a:r>
                <a:rPr lang="en-US" sz="6000" b="1" i="1" dirty="0" smtClean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!</a:t>
              </a:r>
              <a:endParaRPr lang="en-ID" sz="5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6414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7502" y="2973267"/>
            <a:ext cx="2179580" cy="51808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2">
                    <a:lumMod val="75000"/>
                  </a:schemeClr>
                </a:solidFill>
              </a:rPr>
              <a:t>Attachment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639467" y="6013885"/>
            <a:ext cx="1478478" cy="138499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9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 TEU Division</a:t>
            </a:r>
            <a:endParaRPr lang="en-US" sz="9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74DAC47A-E340-45D5-AB37-EC902BF9E58A}"/>
              </a:ext>
            </a:extLst>
          </p:cNvPr>
          <p:cNvSpPr txBox="1">
            <a:spLocks/>
          </p:cNvSpPr>
          <p:nvPr/>
        </p:nvSpPr>
        <p:spPr bwMode="auto">
          <a:xfrm>
            <a:off x="254862" y="6659164"/>
            <a:ext cx="2987102" cy="169277"/>
          </a:xfrm>
          <a:prstGeom prst="rect">
            <a:avLst/>
          </a:prstGeom>
          <a:noFill/>
          <a:ln w="9525">
            <a:noFill/>
            <a:bevel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  <a:sym typeface="Arial Unicode MS" pitchFamily="34" charset="-128"/>
              </a:defRPr>
            </a:lvl1pPr>
            <a:lvl2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2pPr>
            <a:lvl3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3pPr>
            <a:lvl4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4pPr>
            <a:lvl5pPr marL="914400" indent="-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5pPr>
            <a:lvl6pPr marL="13716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6pPr>
            <a:lvl7pPr marL="18288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7pPr>
            <a:lvl8pPr marL="22860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8pPr>
            <a:lvl9pPr marL="2743200" indent="-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  <a:sym typeface="Arial Unicode MS" pitchFamily="34" charset="-128"/>
              </a:defRPr>
            </a:lvl9pPr>
          </a:lstStyle>
          <a:p>
            <a:pPr>
              <a:buFontTx/>
            </a:pPr>
            <a:r>
              <a:rPr lang="en-US" sz="1100" kern="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for Internal use only</a:t>
            </a:r>
            <a:endParaRPr lang="en-US" sz="1100" kern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1956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theme1.xml><?xml version="1.0" encoding="utf-8"?>
<a:theme xmlns:a="http://schemas.openxmlformats.org/drawingml/2006/main" name="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0.xml><?xml version="1.0" encoding="utf-8"?>
<a:theme xmlns:a="http://schemas.openxmlformats.org/drawingml/2006/main" name="4_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4_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1.xml><?xml version="1.0" encoding="utf-8"?>
<a:theme xmlns:a="http://schemas.openxmlformats.org/drawingml/2006/main" name="5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5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2.xml><?xml version="1.0" encoding="utf-8"?>
<a:theme xmlns:a="http://schemas.openxmlformats.org/drawingml/2006/main" name="6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6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3.xml><?xml version="1.0" encoding="utf-8"?>
<a:theme xmlns:a="http://schemas.openxmlformats.org/drawingml/2006/main" name="7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7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4.xml><?xml version="1.0" encoding="utf-8"?>
<a:theme xmlns:a="http://schemas.openxmlformats.org/drawingml/2006/main" name="8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8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5.xml><?xml version="1.0" encoding="utf-8"?>
<a:theme xmlns:a="http://schemas.openxmlformats.org/drawingml/2006/main" name="9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9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6.xml><?xml version="1.0" encoding="utf-8"?>
<a:theme xmlns:a="http://schemas.openxmlformats.org/drawingml/2006/main" name="10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0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7.xml><?xml version="1.0" encoding="utf-8"?>
<a:theme xmlns:a="http://schemas.openxmlformats.org/drawingml/2006/main" name="11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1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8.xml><?xml version="1.0" encoding="utf-8"?>
<a:theme xmlns:a="http://schemas.openxmlformats.org/drawingml/2006/main" name="12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2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19.xml><?xml version="1.0" encoding="utf-8"?>
<a:theme xmlns:a="http://schemas.openxmlformats.org/drawingml/2006/main" name="APP_CF_SIK04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APP_CF_SIK04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2.xml><?xml version="1.0" encoding="utf-8"?>
<a:theme xmlns:a="http://schemas.openxmlformats.org/drawingml/2006/main" name="1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20.xml><?xml version="1.0" encoding="utf-8"?>
<a:theme xmlns:a="http://schemas.openxmlformats.org/drawingml/2006/main" name="1_APP_CF_SIK047">
  <a:themeElements>
    <a:clrScheme name="Current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E71921"/>
      </a:accent3>
      <a:accent4>
        <a:srgbClr val="930F15"/>
      </a:accent4>
      <a:accent5>
        <a:srgbClr val="FF6600"/>
      </a:accent5>
      <a:accent6>
        <a:srgbClr val="808080"/>
      </a:accent6>
      <a:hlink>
        <a:srgbClr val="E71921"/>
      </a:hlink>
      <a:folHlink>
        <a:srgbClr val="930F15"/>
      </a:folHlink>
    </a:clrScheme>
    <a:fontScheme name="Custom 10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E71921"/>
        </a:dk2>
        <a:lt2>
          <a:srgbClr val="AFAFAF"/>
        </a:lt2>
        <a:accent1>
          <a:srgbClr val="DDDDDD"/>
        </a:accent1>
        <a:accent2>
          <a:srgbClr val="EF5F66"/>
        </a:accent2>
        <a:accent3>
          <a:srgbClr val="E71921"/>
        </a:accent3>
        <a:accent4>
          <a:srgbClr val="930F15"/>
        </a:accent4>
        <a:accent5>
          <a:srgbClr val="FF6600"/>
        </a:accent5>
        <a:accent6>
          <a:srgbClr val="808080"/>
        </a:accent6>
        <a:hlink>
          <a:srgbClr val="E71921"/>
        </a:hlink>
        <a:folHlink>
          <a:srgbClr val="930F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2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2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4.xml><?xml version="1.0" encoding="utf-8"?>
<a:theme xmlns:a="http://schemas.openxmlformats.org/drawingml/2006/main" name="3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3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5.xml><?xml version="1.0" encoding="utf-8"?>
<a:theme xmlns:a="http://schemas.openxmlformats.org/drawingml/2006/main" name="4_~8239922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4_~8239922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6.xml><?xml version="1.0" encoding="utf-8"?>
<a:theme xmlns:a="http://schemas.openxmlformats.org/drawingml/2006/main" name="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7.xml><?xml version="1.0" encoding="utf-8"?>
<a:theme xmlns:a="http://schemas.openxmlformats.org/drawingml/2006/main" name="1_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1_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8.xml><?xml version="1.0" encoding="utf-8"?>
<a:theme xmlns:a="http://schemas.openxmlformats.org/drawingml/2006/main" name="2_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2_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ppt/theme/theme9.xml><?xml version="1.0" encoding="utf-8"?>
<a:theme xmlns:a="http://schemas.openxmlformats.org/drawingml/2006/main" name="3_~0607007">
  <a:themeElements>
    <a:clrScheme name="">
      <a:dk1>
        <a:srgbClr val="000000"/>
      </a:dk1>
      <a:lt1>
        <a:srgbClr val="FFFFFF"/>
      </a:lt1>
      <a:dk2>
        <a:srgbClr val="E71921"/>
      </a:dk2>
      <a:lt2>
        <a:srgbClr val="AFAFAF"/>
      </a:lt2>
      <a:accent1>
        <a:srgbClr val="DDDDDD"/>
      </a:accent1>
      <a:accent2>
        <a:srgbClr val="EF5F66"/>
      </a:accent2>
      <a:accent3>
        <a:srgbClr val="FFFFFF"/>
      </a:accent3>
      <a:accent4>
        <a:srgbClr val="000000"/>
      </a:accent4>
      <a:accent5>
        <a:srgbClr val="EBEBEB"/>
      </a:accent5>
      <a:accent6>
        <a:srgbClr val="D9555C"/>
      </a:accent6>
      <a:hlink>
        <a:srgbClr val="E71921"/>
      </a:hlink>
      <a:folHlink>
        <a:srgbClr val="930F15"/>
      </a:folHlink>
    </a:clrScheme>
    <a:fontScheme name="3_~0607007">
      <a:majorFont>
        <a:latin typeface="Calibri"/>
        <a:ea typeface="Arial Unicode MS"/>
        <a:cs typeface="Arial Unicode MS"/>
      </a:majorFont>
      <a:minorFont>
        <a:latin typeface="Calibri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028</TotalTime>
  <Pages>0</Pages>
  <Words>1548</Words>
  <Characters>0</Characters>
  <Application>Microsoft Office PowerPoint</Application>
  <DocSecurity>0</DocSecurity>
  <PresentationFormat>Custom</PresentationFormat>
  <Lines>0</Lines>
  <Paragraphs>673</Paragraphs>
  <Slides>16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8" baseType="lpstr">
      <vt:lpstr>~8239922</vt:lpstr>
      <vt:lpstr>1_~8239922</vt:lpstr>
      <vt:lpstr>2_~8239922</vt:lpstr>
      <vt:lpstr>3_~8239922</vt:lpstr>
      <vt:lpstr>4_~8239922</vt:lpstr>
      <vt:lpstr>~0607007</vt:lpstr>
      <vt:lpstr>1_~0607007</vt:lpstr>
      <vt:lpstr>2_~0607007</vt:lpstr>
      <vt:lpstr>3_~0607007</vt:lpstr>
      <vt:lpstr>4_~0607007</vt:lpstr>
      <vt:lpstr>5_~8239922</vt:lpstr>
      <vt:lpstr>6_~8239922</vt:lpstr>
      <vt:lpstr>7_~8239922</vt:lpstr>
      <vt:lpstr>8_~8239922</vt:lpstr>
      <vt:lpstr>9_~8239922</vt:lpstr>
      <vt:lpstr>10_~8239922</vt:lpstr>
      <vt:lpstr>11_~8239922</vt:lpstr>
      <vt:lpstr>12_~8239922</vt:lpstr>
      <vt:lpstr>APP_CF_SIK047</vt:lpstr>
      <vt:lpstr>1_APP_CF_SIK047</vt:lpstr>
      <vt:lpstr>12_Blank</vt:lpstr>
      <vt:lpstr>think-cell Slide</vt:lpstr>
      <vt:lpstr>Total Dissolved Solid (TDS)</vt:lpstr>
      <vt:lpstr>Outline</vt:lpstr>
      <vt:lpstr>Outline</vt:lpstr>
      <vt:lpstr>Chemical Recovery Kraft Pulp Cycle</vt:lpstr>
      <vt:lpstr>Black Liquor Properties</vt:lpstr>
      <vt:lpstr>Black Liquor Properties</vt:lpstr>
      <vt:lpstr>TDS Flowchart Perawang Mills</vt:lpstr>
      <vt:lpstr>Breakdown Calculation TDS</vt:lpstr>
      <vt:lpstr>Attachment</vt:lpstr>
      <vt:lpstr>Evaluation of TDS</vt:lpstr>
      <vt:lpstr>Evaluation of TDS - Blow Line Kappa , WL Oxidation consumption and TDS </vt:lpstr>
      <vt:lpstr>Evaluation of TDS - Pulp Production , TDS &amp; WBL To Ve</vt:lpstr>
      <vt:lpstr>Evaluation of TDS - Pulp Production , TDS &amp; HBL </vt:lpstr>
      <vt:lpstr>Evaluation of TDS - TDS &amp; Organic Content in TS WBL </vt:lpstr>
      <vt:lpstr>Attachment</vt:lpstr>
      <vt:lpstr>Formula TDS Perawang Mills</vt:lpstr>
    </vt:vector>
  </TitlesOfParts>
  <LinksUpToDate>false</LinksUpToDate>
  <CharactersWithSpaces>0</CharactersWithSpaces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Marvin Nantung</dc:creator>
  <cp:lastModifiedBy>Agung Adi Prianbogo</cp:lastModifiedBy>
  <cp:revision>9848</cp:revision>
  <cp:lastPrinted>2024-12-11T08:31:27Z</cp:lastPrinted>
  <dcterms:created xsi:type="dcterms:W3CDTF">2014-06-09T01:42:00Z</dcterms:created>
  <dcterms:modified xsi:type="dcterms:W3CDTF">2025-06-03T10:0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Delivery Date">
    <vt:lpwstr>Date</vt:lpwstr>
  </property>
  <property fmtid="{D5CDD505-2E9C-101B-9397-08002B2CF9AE}" pid="5" name="Office2010EditCount">
    <vt:lpwstr>1</vt:lpwstr>
  </property>
  <property fmtid="{D5CDD505-2E9C-101B-9397-08002B2CF9AE}" pid="6" name="Office2003EditCount">
    <vt:lpwstr>0</vt:lpwstr>
  </property>
  <property fmtid="{D5CDD505-2E9C-101B-9397-08002B2CF9AE}" pid="7" name="LastEditedOfficeVersion">
    <vt:lpwstr>Office2010</vt:lpwstr>
  </property>
  <property fmtid="{D5CDD505-2E9C-101B-9397-08002B2CF9AE}" pid="8" name="VGCompatibilityCheck Run By">
    <vt:lpwstr>Chandrasekar N</vt:lpwstr>
  </property>
  <property fmtid="{D5CDD505-2E9C-101B-9397-08002B2CF9AE}" pid="9" name="VGCompatibilityCheck Run On ">
    <vt:lpwstr>6/4/2014 3:46:09 AM</vt:lpwstr>
  </property>
  <property fmtid="{D5CDD505-2E9C-101B-9397-08002B2CF9AE}" pid="10" name="DocID">
    <vt:lpwstr>DOC ID</vt:lpwstr>
  </property>
  <property fmtid="{D5CDD505-2E9C-101B-9397-08002B2CF9AE}" pid="11" name="Office2010WasSaved">
    <vt:lpwstr>1</vt:lpwstr>
  </property>
  <property fmtid="{D5CDD505-2E9C-101B-9397-08002B2CF9AE}" pid="12" name="KSOProductBuildVer">
    <vt:lpwstr>1033-9.1.0.4550</vt:lpwstr>
  </property>
</Properties>
</file>